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tags/tag433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87" r:id="rId1"/>
  </p:sldMasterIdLst>
  <p:notesMasterIdLst>
    <p:notesMasterId r:id="rId12"/>
  </p:notesMasterIdLst>
  <p:sldIdLst>
    <p:sldId id="397" r:id="rId2"/>
    <p:sldId id="437" r:id="rId3"/>
    <p:sldId id="438" r:id="rId4"/>
    <p:sldId id="439" r:id="rId5"/>
    <p:sldId id="478" r:id="rId6"/>
    <p:sldId id="472" r:id="rId7"/>
    <p:sldId id="473" r:id="rId8"/>
    <p:sldId id="479" r:id="rId9"/>
    <p:sldId id="480" r:id="rId10"/>
    <p:sldId id="481" r:id="rId11"/>
  </p:sldIdLst>
  <p:sldSz cx="10907713" cy="7775575"/>
  <p:notesSz cx="6797675" cy="9926638"/>
  <p:embeddedFontLst>
    <p:embeddedFont>
      <p:font typeface="Open Sans" panose="020B0604020202020204" charset="0"/>
      <p:regular r:id="rId13"/>
      <p:bold r:id="rId14"/>
      <p:italic r:id="rId15"/>
      <p:boldItalic r:id="rId16"/>
    </p:embeddedFont>
    <p:embeddedFont>
      <p:font typeface="Calibri Light" panose="020F0302020204030204" pitchFamily="34" charset="0"/>
      <p:regular r:id="rId17"/>
      <p:italic r:id="rId18"/>
    </p:embeddedFont>
    <p:embeddedFont>
      <p:font typeface="Open Sans Light" panose="020B0604020202020204" charset="0"/>
      <p:regular r:id="rId19"/>
      <p:italic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740" userDrawn="1">
          <p15:clr>
            <a:srgbClr val="A4A3A4"/>
          </p15:clr>
        </p15:guide>
        <p15:guide id="2" pos="3436" userDrawn="1">
          <p15:clr>
            <a:srgbClr val="A4A3A4"/>
          </p15:clr>
        </p15:guide>
        <p15:guide id="4" pos="6682" userDrawn="1">
          <p15:clr>
            <a:srgbClr val="A4A3A4"/>
          </p15:clr>
        </p15:guide>
        <p15:guide id="5" pos="360" userDrawn="1">
          <p15:clr>
            <a:srgbClr val="A4A3A4"/>
          </p15:clr>
        </p15:guide>
        <p15:guide id="6" pos="1508" userDrawn="1">
          <p15:clr>
            <a:srgbClr val="A4A3A4"/>
          </p15:clr>
        </p15:guide>
        <p15:guide id="7" orient="horz" pos="431" userDrawn="1">
          <p15:clr>
            <a:srgbClr val="A4A3A4"/>
          </p15:clr>
        </p15:guide>
        <p15:guide id="8" pos="4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8DB9"/>
    <a:srgbClr val="5B9BD5"/>
    <a:srgbClr val="364D6E"/>
    <a:srgbClr val="43D1A1"/>
    <a:srgbClr val="D2DEEF"/>
    <a:srgbClr val="EAEFF7"/>
    <a:srgbClr val="0066CC"/>
    <a:srgbClr val="C3CFE1"/>
    <a:srgbClr val="939393"/>
    <a:srgbClr val="1F4E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96408" autoAdjust="0"/>
  </p:normalViewPr>
  <p:slideViewPr>
    <p:cSldViewPr snapToGrid="0">
      <p:cViewPr varScale="1">
        <p:scale>
          <a:sx n="96" d="100"/>
          <a:sy n="96" d="100"/>
        </p:scale>
        <p:origin x="1632" y="90"/>
      </p:cViewPr>
      <p:guideLst>
        <p:guide orient="horz" pos="4740"/>
        <p:guide pos="3436"/>
        <p:guide pos="6682"/>
        <p:guide pos="360"/>
        <p:guide pos="1508"/>
        <p:guide orient="horz" pos="431"/>
        <p:guide pos="4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2.fntdata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48545861297539E-3"/>
          <c:y val="2.2598870056497175E-2"/>
          <c:w val="0.98210290827740487"/>
          <c:h val="0.954802259887005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838.11910476641992</c:v>
                </c:pt>
                <c:pt idx="1">
                  <c:v>961.58235355966008</c:v>
                </c:pt>
                <c:pt idx="2">
                  <c:v>983.21764078215006</c:v>
                </c:pt>
                <c:pt idx="3">
                  <c:v>1021.1006957295</c:v>
                </c:pt>
                <c:pt idx="4">
                  <c:v>1097.6000963867591</c:v>
                </c:pt>
                <c:pt idx="5">
                  <c:v>1174.43210313383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F6CF-43E5-A6CF-FA9D2B527A93}"/>
            </c:ext>
          </c:extLst>
        </c:ser>
        <c:ser>
          <c:idx val="1"/>
          <c:order val="1"/>
          <c:spPr>
            <a:solidFill>
              <a:srgbClr val="5B9BD5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708.42446479236037</c:v>
                </c:pt>
                <c:pt idx="1">
                  <c:v>876.70800478174078</c:v>
                </c:pt>
                <c:pt idx="2">
                  <c:v>1047.8778082247607</c:v>
                </c:pt>
                <c:pt idx="3">
                  <c:v>1215.2341697333104</c:v>
                </c:pt>
                <c:pt idx="4">
                  <c:v>1361.929547023477</c:v>
                </c:pt>
                <c:pt idx="5">
                  <c:v>1509.26273030186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F6CF-43E5-A6CF-FA9D2B527A93}"/>
            </c:ext>
          </c:extLst>
        </c:ser>
        <c:ser>
          <c:idx val="2"/>
          <c:order val="2"/>
          <c:spPr>
            <a:solidFill>
              <a:srgbClr val="808080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221.55122836345981</c:v>
                </c:pt>
                <c:pt idx="1">
                  <c:v>238.56794024448982</c:v>
                </c:pt>
                <c:pt idx="2">
                  <c:v>248.08989981079003</c:v>
                </c:pt>
                <c:pt idx="3">
                  <c:v>251.75748469121982</c:v>
                </c:pt>
                <c:pt idx="4">
                  <c:v>270.61879461922672</c:v>
                </c:pt>
                <c:pt idx="5">
                  <c:v>289.562110242572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F6CF-43E5-A6CF-FA9D2B527A93}"/>
            </c:ext>
          </c:extLst>
        </c:ser>
        <c:ser>
          <c:idx val="3"/>
          <c:order val="3"/>
          <c:spPr>
            <a:solidFill>
              <a:srgbClr val="C0C0C0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5.9714334882120114E-2"/>
                  <c:y val="5.649717514124293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5.9714334882120114E-2"/>
                  <c:y val="4.345936549326379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5.9714334882120114E-2"/>
                  <c:y val="6.084311169056931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5.9714334882120114E-2"/>
                  <c:y val="2.172968274663189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5.9714334882120114E-2"/>
                  <c:y val="1.303780964797913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5.9714334882120114E-2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21.790853759940092</c:v>
                </c:pt>
                <c:pt idx="1">
                  <c:v>21.897032795759969</c:v>
                </c:pt>
                <c:pt idx="2">
                  <c:v>22.393172858170146</c:v>
                </c:pt>
                <c:pt idx="3">
                  <c:v>21.992892845470124</c:v>
                </c:pt>
                <c:pt idx="4">
                  <c:v>23.640568856694244</c:v>
                </c:pt>
                <c:pt idx="5">
                  <c:v>25.2954086766626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5-F6CF-43E5-A6CF-FA9D2B527A93}"/>
            </c:ext>
          </c:extLst>
        </c:ser>
        <c:ser>
          <c:idx val="4"/>
          <c:order val="4"/>
          <c:spPr>
            <a:solidFill>
              <a:srgbClr val="D6D7D9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22.593168943570163</c:v>
                </c:pt>
                <c:pt idx="1">
                  <c:v>28.751607134810001</c:v>
                </c:pt>
                <c:pt idx="2">
                  <c:v>28.981272629449904</c:v>
                </c:pt>
                <c:pt idx="3">
                  <c:v>30.400200231989857</c:v>
                </c:pt>
                <c:pt idx="4">
                  <c:v>32.677739663050943</c:v>
                </c:pt>
                <c:pt idx="5">
                  <c:v>34.9651814394646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6-F6CF-43E5-A6CF-FA9D2B527A93}"/>
            </c:ext>
          </c:extLst>
        </c:ser>
        <c:ser>
          <c:idx val="5"/>
          <c:order val="5"/>
          <c:spPr>
            <a:pattFill prst="ltUpDiag">
              <a:fgClr>
                <a:srgbClr val="000000"/>
              </a:fgClr>
              <a:bgClr>
                <a:srgbClr val="FFFFFF"/>
              </a:bgClr>
            </a:patt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:$F$6</c:f>
              <c:numCache>
                <c:formatCode>General</c:formatCode>
                <c:ptCount val="6"/>
                <c:pt idx="0">
                  <c:v>67.906408329649821</c:v>
                </c:pt>
                <c:pt idx="1">
                  <c:v>71.908851564759971</c:v>
                </c:pt>
                <c:pt idx="2">
                  <c:v>56.368038693310154</c:v>
                </c:pt>
                <c:pt idx="3">
                  <c:v>81.764606975370043</c:v>
                </c:pt>
                <c:pt idx="4">
                  <c:v>87.890294142905987</c:v>
                </c:pt>
                <c:pt idx="5">
                  <c:v>94.0426147329094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F6CF-43E5-A6CF-FA9D2B527A93}"/>
            </c:ext>
          </c:extLst>
        </c:ser>
        <c:ser>
          <c:idx val="6"/>
          <c:order val="6"/>
          <c:spPr>
            <a:solidFill>
              <a:srgbClr val="9DB1CF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7:$F$7</c:f>
              <c:numCache>
                <c:formatCode>General</c:formatCode>
                <c:ptCount val="6"/>
                <c:pt idx="0">
                  <c:v>0.41481873429984262</c:v>
                </c:pt>
                <c:pt idx="1">
                  <c:v>0.53767477626979598</c:v>
                </c:pt>
                <c:pt idx="2">
                  <c:v>1.2158638070400229</c:v>
                </c:pt>
                <c:pt idx="3">
                  <c:v>1.2564080164202096</c:v>
                </c:pt>
                <c:pt idx="4">
                  <c:v>1.3505363042950194</c:v>
                </c:pt>
                <c:pt idx="5">
                  <c:v>1.44507384559574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8-F6CF-43E5-A6CF-FA9D2B527A93}"/>
            </c:ext>
          </c:extLst>
        </c:ser>
        <c:ser>
          <c:idx val="7"/>
          <c:order val="7"/>
          <c:spPr>
            <a:solidFill>
              <a:srgbClr val="D2DEEF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2.2715539494062985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9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2.2715539494062985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-2.2715539494062985E-2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B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C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D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E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:$F$8</c:f>
              <c:numCache>
                <c:formatCode>General</c:formatCode>
                <c:ptCount val="6"/>
                <c:pt idx="0">
                  <c:v>154.17837508479988</c:v>
                </c:pt>
                <c:pt idx="1">
                  <c:v>161.46918080905016</c:v>
                </c:pt>
                <c:pt idx="2">
                  <c:v>164.36519386013015</c:v>
                </c:pt>
                <c:pt idx="3">
                  <c:v>187.12413426363992</c:v>
                </c:pt>
                <c:pt idx="4">
                  <c:v>201.1432062117301</c:v>
                </c:pt>
                <c:pt idx="5">
                  <c:v>215.223230646551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F-F6CF-43E5-A6CF-FA9D2B527A93}"/>
            </c:ext>
          </c:extLst>
        </c:ser>
        <c:ser>
          <c:idx val="8"/>
          <c:order val="8"/>
          <c:spPr>
            <a:solidFill>
              <a:srgbClr val="EAEFF7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0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4.345936549326380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1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2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3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4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5-F6CF-43E5-A6CF-FA9D2B527A9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:$F$9</c:f>
              <c:numCache>
                <c:formatCode>General</c:formatCode>
                <c:ptCount val="6"/>
                <c:pt idx="0">
                  <c:v>237.83402192695985</c:v>
                </c:pt>
                <c:pt idx="1">
                  <c:v>252.06187631295006</c:v>
                </c:pt>
                <c:pt idx="2">
                  <c:v>257.16657710099025</c:v>
                </c:pt>
                <c:pt idx="3">
                  <c:v>265.61978408043979</c:v>
                </c:pt>
                <c:pt idx="4">
                  <c:v>285.51963761089655</c:v>
                </c:pt>
                <c:pt idx="5">
                  <c:v>305.506012243658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6-F6CF-43E5-A6CF-FA9D2B527A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22601184"/>
        <c:axId val="522596288"/>
      </c:barChart>
      <c:catAx>
        <c:axId val="522601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522596288"/>
        <c:crosses val="min"/>
        <c:auto val="0"/>
        <c:lblAlgn val="ctr"/>
        <c:lblOffset val="100"/>
        <c:noMultiLvlLbl val="0"/>
      </c:catAx>
      <c:valAx>
        <c:axId val="522596288"/>
        <c:scaling>
          <c:orientation val="minMax"/>
          <c:max val="3649.73446526310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22601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722061081726675E-3"/>
          <c:y val="0.33333333333333331"/>
          <c:w val="0.98225558778365463"/>
          <c:h val="0.5146198830409356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2DEE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88888888888889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04A-4908-A95D-B1949A629F5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40350877192982454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04A-4908-A95D-B1949A629F5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42397660818713451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604A-4908-A95D-B1949A629F5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4064327485380117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04A-4908-A95D-B1949A629F5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4064327485380117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604A-4908-A95D-B1949A629F5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0.4064327485380117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04A-4908-A95D-B1949A629F5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.903123401983676</c:v>
                </c:pt>
                <c:pt idx="1">
                  <c:v>3.0499197936097544</c:v>
                </c:pt>
                <c:pt idx="2">
                  <c:v>3.3323381033732211</c:v>
                </c:pt>
                <c:pt idx="3">
                  <c:v>3.1100004809964656</c:v>
                </c:pt>
                <c:pt idx="4">
                  <c:v>3.1100004809964656</c:v>
                </c:pt>
                <c:pt idx="5">
                  <c:v>3.11000048099646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04A-4908-A95D-B1949A629F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22599552"/>
        <c:axId val="522596832"/>
      </c:barChart>
      <c:catAx>
        <c:axId val="522599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522596832"/>
        <c:crosses val="min"/>
        <c:auto val="0"/>
        <c:lblAlgn val="ctr"/>
        <c:lblOffset val="100"/>
        <c:noMultiLvlLbl val="0"/>
      </c:catAx>
      <c:valAx>
        <c:axId val="522596832"/>
        <c:scaling>
          <c:orientation val="minMax"/>
          <c:max val="3.33233810337322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225995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643762320473106E-2"/>
          <c:y val="2.557796360059026E-2"/>
          <c:w val="0.97071247535905381"/>
          <c:h val="0.948844072798819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6910914</c:v>
                </c:pt>
                <c:pt idx="1">
                  <c:v>7089476</c:v>
                </c:pt>
                <c:pt idx="2">
                  <c:v>7191821</c:v>
                </c:pt>
                <c:pt idx="3">
                  <c:v>7303203</c:v>
                </c:pt>
                <c:pt idx="4">
                  <c:v>7402015</c:v>
                </c:pt>
                <c:pt idx="5">
                  <c:v>73672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54D-4B43-87E9-4AF65A80FCB0}"/>
            </c:ext>
          </c:extLst>
        </c:ser>
        <c:ser>
          <c:idx val="1"/>
          <c:order val="1"/>
          <c:spPr>
            <a:solidFill>
              <a:srgbClr val="6F8DB9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7264888</c:v>
                </c:pt>
                <c:pt idx="1">
                  <c:v>7497399</c:v>
                </c:pt>
                <c:pt idx="2">
                  <c:v>7743240</c:v>
                </c:pt>
                <c:pt idx="3">
                  <c:v>8063066</c:v>
                </c:pt>
                <c:pt idx="4">
                  <c:v>8361118</c:v>
                </c:pt>
                <c:pt idx="5">
                  <c:v>86335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54D-4B43-87E9-4AF65A80FCB0}"/>
            </c:ext>
          </c:extLst>
        </c:ser>
        <c:ser>
          <c:idx val="2"/>
          <c:order val="2"/>
          <c:spPr>
            <a:solidFill>
              <a:srgbClr val="D2DEEF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1357680</c:v>
                </c:pt>
                <c:pt idx="1">
                  <c:v>1371931</c:v>
                </c:pt>
                <c:pt idx="2">
                  <c:v>1352529</c:v>
                </c:pt>
                <c:pt idx="3">
                  <c:v>1323759</c:v>
                </c:pt>
                <c:pt idx="4">
                  <c:v>1360437</c:v>
                </c:pt>
                <c:pt idx="5">
                  <c:v>14199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54D-4B43-87E9-4AF65A80FC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22600096"/>
        <c:axId val="522600640"/>
      </c:barChart>
      <c:catAx>
        <c:axId val="522600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522600640"/>
        <c:crosses val="min"/>
        <c:auto val="0"/>
        <c:lblAlgn val="ctr"/>
        <c:lblOffset val="100"/>
        <c:noMultiLvlLbl val="0"/>
      </c:catAx>
      <c:valAx>
        <c:axId val="522600640"/>
        <c:scaling>
          <c:orientation val="minMax"/>
          <c:max val="174207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226000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544702513522112E-2"/>
          <c:y val="2.557796360059026E-2"/>
          <c:w val="0.96691059497295573"/>
          <c:h val="0.948844072798819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311663</c:v>
                </c:pt>
                <c:pt idx="1">
                  <c:v>314665</c:v>
                </c:pt>
                <c:pt idx="2">
                  <c:v>317418</c:v>
                </c:pt>
                <c:pt idx="3">
                  <c:v>318519</c:v>
                </c:pt>
                <c:pt idx="4">
                  <c:v>319246</c:v>
                </c:pt>
                <c:pt idx="5">
                  <c:v>3177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A04-4820-8F03-2F7B62E3EC17}"/>
            </c:ext>
          </c:extLst>
        </c:ser>
        <c:ser>
          <c:idx val="1"/>
          <c:order val="1"/>
          <c:spPr>
            <a:solidFill>
              <a:srgbClr val="6F8DB9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755488</c:v>
                </c:pt>
                <c:pt idx="1">
                  <c:v>752702</c:v>
                </c:pt>
                <c:pt idx="2">
                  <c:v>752865</c:v>
                </c:pt>
                <c:pt idx="3">
                  <c:v>755604</c:v>
                </c:pt>
                <c:pt idx="4">
                  <c:v>763138</c:v>
                </c:pt>
                <c:pt idx="5">
                  <c:v>7692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A04-4820-8F03-2F7B62E3EC17}"/>
            </c:ext>
          </c:extLst>
        </c:ser>
        <c:ser>
          <c:idx val="2"/>
          <c:order val="2"/>
          <c:spPr>
            <a:solidFill>
              <a:srgbClr val="D2DEEF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145823</c:v>
                </c:pt>
                <c:pt idx="1">
                  <c:v>143995</c:v>
                </c:pt>
                <c:pt idx="2">
                  <c:v>141759</c:v>
                </c:pt>
                <c:pt idx="3">
                  <c:v>139496</c:v>
                </c:pt>
                <c:pt idx="4">
                  <c:v>138767</c:v>
                </c:pt>
                <c:pt idx="5">
                  <c:v>1375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A04-4820-8F03-2F7B62E3EC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22602272"/>
        <c:axId val="522602816"/>
      </c:barChart>
      <c:catAx>
        <c:axId val="5226022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522602816"/>
        <c:crosses val="min"/>
        <c:auto val="0"/>
        <c:lblAlgn val="ctr"/>
        <c:lblOffset val="100"/>
        <c:noMultiLvlLbl val="0"/>
      </c:catAx>
      <c:valAx>
        <c:axId val="522602816"/>
        <c:scaling>
          <c:orientation val="minMax"/>
          <c:max val="12246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226022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165898617511521E-3"/>
          <c:y val="2.1112464474218433E-2"/>
          <c:w val="0.98156682027649766"/>
          <c:h val="0.957775071051563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E4E4E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21.280477670739401</c:v>
                </c:pt>
                <c:pt idx="1">
                  <c:v>42.560955341478802</c:v>
                </c:pt>
                <c:pt idx="2">
                  <c:v>77.260955341478848</c:v>
                </c:pt>
                <c:pt idx="3">
                  <c:v>110.76095534147885</c:v>
                </c:pt>
                <c:pt idx="4">
                  <c:v>149.34143301221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DF2-499B-904C-2A378D3FB8D1}"/>
            </c:ext>
          </c:extLst>
        </c:ser>
        <c:ser>
          <c:idx val="1"/>
          <c:order val="1"/>
          <c:spPr>
            <a:solidFill>
              <a:srgbClr val="364D6E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106.7804776707394</c:v>
                </c:pt>
                <c:pt idx="1">
                  <c:v>141.26095534147885</c:v>
                </c:pt>
                <c:pt idx="2">
                  <c:v>147.46095534147889</c:v>
                </c:pt>
                <c:pt idx="3">
                  <c:v>153.5609553414788</c:v>
                </c:pt>
                <c:pt idx="4">
                  <c:v>184.980477670739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DF2-499B-904C-2A378D3FB8D1}"/>
            </c:ext>
          </c:extLst>
        </c:ser>
        <c:ser>
          <c:idx val="2"/>
          <c:order val="2"/>
          <c:spPr>
            <a:solidFill>
              <a:srgbClr val="6F8DB9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DF2-499B-904C-2A378D3FB8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4.060089321965083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DF2-499B-904C-2A378D3FB8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4.060089321965083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DDF2-499B-904C-2A378D3FB8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DF2-499B-904C-2A378D3FB8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42.560955341478802</c:v>
                </c:pt>
                <c:pt idx="1">
                  <c:v>150.90000000000009</c:v>
                </c:pt>
                <c:pt idx="2">
                  <c:v>158</c:v>
                </c:pt>
                <c:pt idx="3">
                  <c:v>162.20000000000005</c:v>
                </c:pt>
                <c:pt idx="4">
                  <c:v>170.900000000000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DDF2-499B-904C-2A378D3FB8D1}"/>
            </c:ext>
          </c:extLst>
        </c:ser>
        <c:ser>
          <c:idx val="3"/>
          <c:order val="3"/>
          <c:spPr>
            <a:solidFill>
              <a:schemeClr val="accent1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18.5</c:v>
                </c:pt>
                <c:pt idx="1">
                  <c:v>17</c:v>
                </c:pt>
                <c:pt idx="2">
                  <c:v>16.799999999999955</c:v>
                </c:pt>
                <c:pt idx="3">
                  <c:v>18</c:v>
                </c:pt>
                <c:pt idx="4">
                  <c:v>18.7999999999999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DDF2-499B-904C-2A378D3FB8D1}"/>
            </c:ext>
          </c:extLst>
        </c:ser>
        <c:ser>
          <c:idx val="4"/>
          <c:order val="4"/>
          <c:spPr>
            <a:solidFill>
              <a:srgbClr val="9DB1CF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4.9000000000000909</c:v>
                </c:pt>
                <c:pt idx="1">
                  <c:v>5.0999999999999091</c:v>
                </c:pt>
                <c:pt idx="2">
                  <c:v>5.2999999999999545</c:v>
                </c:pt>
                <c:pt idx="3">
                  <c:v>5.5</c:v>
                </c:pt>
                <c:pt idx="4">
                  <c:v>5.70000000000004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DF2-499B-904C-2A378D3FB8D1}"/>
            </c:ext>
          </c:extLst>
        </c:ser>
        <c:ser>
          <c:idx val="5"/>
          <c:order val="5"/>
          <c:spPr>
            <a:solidFill>
              <a:srgbClr val="D2DEEF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DDF2-499B-904C-2A378D3FB8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DDF2-499B-904C-2A378D3FB8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DDF2-499B-904C-2A378D3FB8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DDF2-499B-904C-2A378D3FB8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DDF2-499B-904C-2A378D3FB8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E$6</c:f>
              <c:numCache>
                <c:formatCode>General</c:formatCode>
                <c:ptCount val="5"/>
                <c:pt idx="0">
                  <c:v>43.200000000000045</c:v>
                </c:pt>
                <c:pt idx="1">
                  <c:v>53.900000000000091</c:v>
                </c:pt>
                <c:pt idx="2">
                  <c:v>54.400000000000091</c:v>
                </c:pt>
                <c:pt idx="3">
                  <c:v>55.400000000000091</c:v>
                </c:pt>
                <c:pt idx="4">
                  <c:v>56.9000000000000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DDF2-499B-904C-2A378D3FB8D1}"/>
            </c:ext>
          </c:extLst>
        </c:ser>
        <c:ser>
          <c:idx val="6"/>
          <c:order val="6"/>
          <c:spPr>
            <a:pattFill prst="ltUpDiag">
              <a:fgClr>
                <a:srgbClr val="000000"/>
              </a:fgClr>
              <a:bgClr>
                <a:srgbClr val="FFFFFF"/>
              </a:bgClr>
            </a:patt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7:$E$7</c:f>
              <c:numCache>
                <c:formatCode>General</c:formatCode>
                <c:ptCount val="5"/>
                <c:pt idx="0">
                  <c:v>18.5</c:v>
                </c:pt>
                <c:pt idx="1">
                  <c:v>26.599999999999909</c:v>
                </c:pt>
                <c:pt idx="2">
                  <c:v>25.599999999999909</c:v>
                </c:pt>
                <c:pt idx="3">
                  <c:v>25.5</c:v>
                </c:pt>
                <c:pt idx="4">
                  <c:v>25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DDF2-499B-904C-2A378D3FB8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96578608"/>
        <c:axId val="1496577520"/>
      </c:barChart>
      <c:catAx>
        <c:axId val="1496578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496577520"/>
        <c:crosses val="min"/>
        <c:auto val="0"/>
        <c:lblAlgn val="ctr"/>
        <c:lblOffset val="100"/>
        <c:noMultiLvlLbl val="0"/>
      </c:catAx>
      <c:valAx>
        <c:axId val="1496577520"/>
        <c:scaling>
          <c:orientation val="minMax"/>
          <c:max val="612.121910682957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96578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8056"/>
          </a:xfrm>
          <a:prstGeom prst="rect">
            <a:avLst/>
          </a:prstGeom>
        </p:spPr>
        <p:txBody>
          <a:bodyPr vert="horz" lIns="91274" tIns="45636" rIns="91274" bIns="4563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274" tIns="45636" rIns="91274" bIns="45636" rtlCol="0"/>
          <a:lstStyle>
            <a:lvl1pPr algn="r">
              <a:defRPr sz="1200"/>
            </a:lvl1pPr>
          </a:lstStyle>
          <a:p>
            <a:fld id="{C66F2C91-5BE2-4D4A-A47C-15BBA71B198D}" type="datetimeFigureOut">
              <a:rPr lang="ru-RU" smtClean="0"/>
              <a:t>24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49338" y="1241425"/>
            <a:ext cx="46990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4" tIns="45636" rIns="91274" bIns="4563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7"/>
            <a:ext cx="5438140" cy="3908613"/>
          </a:xfrm>
          <a:prstGeom prst="rect">
            <a:avLst/>
          </a:prstGeom>
        </p:spPr>
        <p:txBody>
          <a:bodyPr vert="horz" lIns="91274" tIns="45636" rIns="91274" bIns="4563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7"/>
            <a:ext cx="2945659" cy="498055"/>
          </a:xfrm>
          <a:prstGeom prst="rect">
            <a:avLst/>
          </a:prstGeom>
        </p:spPr>
        <p:txBody>
          <a:bodyPr vert="horz" lIns="91274" tIns="45636" rIns="91274" bIns="4563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7"/>
            <a:ext cx="2945659" cy="498055"/>
          </a:xfrm>
          <a:prstGeom prst="rect">
            <a:avLst/>
          </a:prstGeom>
        </p:spPr>
        <p:txBody>
          <a:bodyPr vert="horz" lIns="91274" tIns="45636" rIns="91274" bIns="45636" rtlCol="0" anchor="b"/>
          <a:lstStyle>
            <a:lvl1pPr algn="r">
              <a:defRPr sz="1200"/>
            </a:lvl1pPr>
          </a:lstStyle>
          <a:p>
            <a:fld id="{6CD0A87D-A611-4407-9F4B-965663F77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4489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35980" rtl="0" eaLnBrk="1" latinLnBrk="0" hangingPunct="1">
      <a:defRPr sz="1228" kern="1200">
        <a:solidFill>
          <a:schemeClr val="tx1"/>
        </a:solidFill>
        <a:latin typeface="+mn-lt"/>
        <a:ea typeface="+mn-ea"/>
        <a:cs typeface="+mn-cs"/>
      </a:defRPr>
    </a:lvl1pPr>
    <a:lvl2pPr marL="467990" algn="l" defTabSz="935980" rtl="0" eaLnBrk="1" latinLnBrk="0" hangingPunct="1">
      <a:defRPr sz="1228" kern="1200">
        <a:solidFill>
          <a:schemeClr val="tx1"/>
        </a:solidFill>
        <a:latin typeface="+mn-lt"/>
        <a:ea typeface="+mn-ea"/>
        <a:cs typeface="+mn-cs"/>
      </a:defRPr>
    </a:lvl2pPr>
    <a:lvl3pPr marL="935980" algn="l" defTabSz="935980" rtl="0" eaLnBrk="1" latinLnBrk="0" hangingPunct="1">
      <a:defRPr sz="1228" kern="1200">
        <a:solidFill>
          <a:schemeClr val="tx1"/>
        </a:solidFill>
        <a:latin typeface="+mn-lt"/>
        <a:ea typeface="+mn-ea"/>
        <a:cs typeface="+mn-cs"/>
      </a:defRPr>
    </a:lvl3pPr>
    <a:lvl4pPr marL="1403970" algn="l" defTabSz="935980" rtl="0" eaLnBrk="1" latinLnBrk="0" hangingPunct="1">
      <a:defRPr sz="1228" kern="1200">
        <a:solidFill>
          <a:schemeClr val="tx1"/>
        </a:solidFill>
        <a:latin typeface="+mn-lt"/>
        <a:ea typeface="+mn-ea"/>
        <a:cs typeface="+mn-cs"/>
      </a:defRPr>
    </a:lvl4pPr>
    <a:lvl5pPr marL="1871960" algn="l" defTabSz="935980" rtl="0" eaLnBrk="1" latinLnBrk="0" hangingPunct="1">
      <a:defRPr sz="1228" kern="1200">
        <a:solidFill>
          <a:schemeClr val="tx1"/>
        </a:solidFill>
        <a:latin typeface="+mn-lt"/>
        <a:ea typeface="+mn-ea"/>
        <a:cs typeface="+mn-cs"/>
      </a:defRPr>
    </a:lvl5pPr>
    <a:lvl6pPr marL="2339950" algn="l" defTabSz="935980" rtl="0" eaLnBrk="1" latinLnBrk="0" hangingPunct="1">
      <a:defRPr sz="1228" kern="1200">
        <a:solidFill>
          <a:schemeClr val="tx1"/>
        </a:solidFill>
        <a:latin typeface="+mn-lt"/>
        <a:ea typeface="+mn-ea"/>
        <a:cs typeface="+mn-cs"/>
      </a:defRPr>
    </a:lvl6pPr>
    <a:lvl7pPr marL="2807940" algn="l" defTabSz="935980" rtl="0" eaLnBrk="1" latinLnBrk="0" hangingPunct="1">
      <a:defRPr sz="1228" kern="1200">
        <a:solidFill>
          <a:schemeClr val="tx1"/>
        </a:solidFill>
        <a:latin typeface="+mn-lt"/>
        <a:ea typeface="+mn-ea"/>
        <a:cs typeface="+mn-cs"/>
      </a:defRPr>
    </a:lvl7pPr>
    <a:lvl8pPr marL="3275929" algn="l" defTabSz="935980" rtl="0" eaLnBrk="1" latinLnBrk="0" hangingPunct="1">
      <a:defRPr sz="1228" kern="1200">
        <a:solidFill>
          <a:schemeClr val="tx1"/>
        </a:solidFill>
        <a:latin typeface="+mn-lt"/>
        <a:ea typeface="+mn-ea"/>
        <a:cs typeface="+mn-cs"/>
      </a:defRPr>
    </a:lvl8pPr>
    <a:lvl9pPr marL="3743919" algn="l" defTabSz="935980" rtl="0" eaLnBrk="1" latinLnBrk="0" hangingPunct="1">
      <a:defRPr sz="122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9338" y="1241425"/>
            <a:ext cx="469900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5403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87400" y="744538"/>
            <a:ext cx="5232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D862EC-F81F-4790-B7B9-BA4C1A97BC0D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607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87400" y="744538"/>
            <a:ext cx="5232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D862EC-F81F-4790-B7B9-BA4C1A97BC0D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442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87400" y="744538"/>
            <a:ext cx="5232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D862EC-F81F-4790-B7B9-BA4C1A97BC0D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359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9338" y="1241425"/>
            <a:ext cx="469900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лимишин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1AE36C-377C-4254-BDAB-8B507A671D59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2321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9338" y="1241425"/>
            <a:ext cx="469900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7406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8079" y="1272531"/>
            <a:ext cx="9271556" cy="2707052"/>
          </a:xfrm>
        </p:spPr>
        <p:txBody>
          <a:bodyPr anchor="b"/>
          <a:lstStyle>
            <a:lvl1pPr algn="ctr">
              <a:defRPr sz="6803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3464" y="4083977"/>
            <a:ext cx="8180785" cy="1877297"/>
          </a:xfrm>
        </p:spPr>
        <p:txBody>
          <a:bodyPr/>
          <a:lstStyle>
            <a:lvl1pPr marL="0" indent="0" algn="ctr">
              <a:buNone/>
              <a:defRPr sz="2721"/>
            </a:lvl1pPr>
            <a:lvl2pPr marL="518373" indent="0" algn="ctr">
              <a:buNone/>
              <a:defRPr sz="2268"/>
            </a:lvl2pPr>
            <a:lvl3pPr marL="1036747" indent="0" algn="ctr">
              <a:buNone/>
              <a:defRPr sz="2041"/>
            </a:lvl3pPr>
            <a:lvl4pPr marL="1555120" indent="0" algn="ctr">
              <a:buNone/>
              <a:defRPr sz="1814"/>
            </a:lvl4pPr>
            <a:lvl5pPr marL="2073493" indent="0" algn="ctr">
              <a:buNone/>
              <a:defRPr sz="1814"/>
            </a:lvl5pPr>
            <a:lvl6pPr marL="2591867" indent="0" algn="ctr">
              <a:buNone/>
              <a:defRPr sz="1814"/>
            </a:lvl6pPr>
            <a:lvl7pPr marL="3110240" indent="0" algn="ctr">
              <a:buNone/>
              <a:defRPr sz="1814"/>
            </a:lvl7pPr>
            <a:lvl8pPr marL="3628614" indent="0" algn="ctr">
              <a:buNone/>
              <a:defRPr sz="1814"/>
            </a:lvl8pPr>
            <a:lvl9pPr marL="4146987" indent="0" algn="ctr">
              <a:buNone/>
              <a:defRPr sz="181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8446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5783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05833" y="413978"/>
            <a:ext cx="2351976" cy="658944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9906" y="413978"/>
            <a:ext cx="6919580" cy="658944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7335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545387" y="311383"/>
            <a:ext cx="9816942" cy="1296156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545387" y="1814301"/>
            <a:ext cx="9816942" cy="5632246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0207243" y="7180483"/>
            <a:ext cx="654534" cy="595016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85816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8596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225" y="1938496"/>
            <a:ext cx="9407902" cy="3234423"/>
          </a:xfrm>
        </p:spPr>
        <p:txBody>
          <a:bodyPr anchor="b"/>
          <a:lstStyle>
            <a:lvl1pPr>
              <a:defRPr sz="6803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4225" y="5203518"/>
            <a:ext cx="9407902" cy="1700906"/>
          </a:xfrm>
        </p:spPr>
        <p:txBody>
          <a:bodyPr/>
          <a:lstStyle>
            <a:lvl1pPr marL="0" indent="0">
              <a:buNone/>
              <a:defRPr sz="2721">
                <a:solidFill>
                  <a:schemeClr val="tx1"/>
                </a:solidFill>
              </a:defRPr>
            </a:lvl1pPr>
            <a:lvl2pPr marL="518373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2pPr>
            <a:lvl3pPr marL="1036747" indent="0">
              <a:buNone/>
              <a:defRPr sz="2041">
                <a:solidFill>
                  <a:schemeClr val="tx1">
                    <a:tint val="75000"/>
                  </a:schemeClr>
                </a:solidFill>
              </a:defRPr>
            </a:lvl3pPr>
            <a:lvl4pPr marL="155512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4pPr>
            <a:lvl5pPr marL="2073493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5pPr>
            <a:lvl6pPr marL="2591867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6pPr>
            <a:lvl7pPr marL="311024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7pPr>
            <a:lvl8pPr marL="3628614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8pPr>
            <a:lvl9pPr marL="4146987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2106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9905" y="2069887"/>
            <a:ext cx="4635778" cy="493353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22030" y="2069887"/>
            <a:ext cx="4635778" cy="493353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34900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26" y="413979"/>
            <a:ext cx="9407902" cy="150291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1327" y="1906097"/>
            <a:ext cx="4614473" cy="934148"/>
          </a:xfrm>
        </p:spPr>
        <p:txBody>
          <a:bodyPr anchor="b"/>
          <a:lstStyle>
            <a:lvl1pPr marL="0" indent="0">
              <a:buNone/>
              <a:defRPr sz="2721" b="1"/>
            </a:lvl1pPr>
            <a:lvl2pPr marL="518373" indent="0">
              <a:buNone/>
              <a:defRPr sz="2268" b="1"/>
            </a:lvl2pPr>
            <a:lvl3pPr marL="1036747" indent="0">
              <a:buNone/>
              <a:defRPr sz="2041" b="1"/>
            </a:lvl3pPr>
            <a:lvl4pPr marL="1555120" indent="0">
              <a:buNone/>
              <a:defRPr sz="1814" b="1"/>
            </a:lvl4pPr>
            <a:lvl5pPr marL="2073493" indent="0">
              <a:buNone/>
              <a:defRPr sz="1814" b="1"/>
            </a:lvl5pPr>
            <a:lvl6pPr marL="2591867" indent="0">
              <a:buNone/>
              <a:defRPr sz="1814" b="1"/>
            </a:lvl6pPr>
            <a:lvl7pPr marL="3110240" indent="0">
              <a:buNone/>
              <a:defRPr sz="1814" b="1"/>
            </a:lvl7pPr>
            <a:lvl8pPr marL="3628614" indent="0">
              <a:buNone/>
              <a:defRPr sz="1814" b="1"/>
            </a:lvl8pPr>
            <a:lvl9pPr marL="4146987" indent="0">
              <a:buNone/>
              <a:defRPr sz="181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1327" y="2840245"/>
            <a:ext cx="4614473" cy="417757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22030" y="1906097"/>
            <a:ext cx="4637199" cy="934148"/>
          </a:xfrm>
        </p:spPr>
        <p:txBody>
          <a:bodyPr anchor="b"/>
          <a:lstStyle>
            <a:lvl1pPr marL="0" indent="0">
              <a:buNone/>
              <a:defRPr sz="2721" b="1"/>
            </a:lvl1pPr>
            <a:lvl2pPr marL="518373" indent="0">
              <a:buNone/>
              <a:defRPr sz="2268" b="1"/>
            </a:lvl2pPr>
            <a:lvl3pPr marL="1036747" indent="0">
              <a:buNone/>
              <a:defRPr sz="2041" b="1"/>
            </a:lvl3pPr>
            <a:lvl4pPr marL="1555120" indent="0">
              <a:buNone/>
              <a:defRPr sz="1814" b="1"/>
            </a:lvl4pPr>
            <a:lvl5pPr marL="2073493" indent="0">
              <a:buNone/>
              <a:defRPr sz="1814" b="1"/>
            </a:lvl5pPr>
            <a:lvl6pPr marL="2591867" indent="0">
              <a:buNone/>
              <a:defRPr sz="1814" b="1"/>
            </a:lvl6pPr>
            <a:lvl7pPr marL="3110240" indent="0">
              <a:buNone/>
              <a:defRPr sz="1814" b="1"/>
            </a:lvl7pPr>
            <a:lvl8pPr marL="3628614" indent="0">
              <a:buNone/>
              <a:defRPr sz="1814" b="1"/>
            </a:lvl8pPr>
            <a:lvl9pPr marL="4146987" indent="0">
              <a:buNone/>
              <a:defRPr sz="181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22030" y="2840245"/>
            <a:ext cx="4637199" cy="417757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0308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8335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36963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26" y="518372"/>
            <a:ext cx="3518021" cy="1814301"/>
          </a:xfrm>
        </p:spPr>
        <p:txBody>
          <a:bodyPr anchor="b"/>
          <a:lstStyle>
            <a:lvl1pPr>
              <a:defRPr sz="362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7199" y="1119540"/>
            <a:ext cx="5522030" cy="5525698"/>
          </a:xfrm>
        </p:spPr>
        <p:txBody>
          <a:bodyPr/>
          <a:lstStyle>
            <a:lvl1pPr>
              <a:defRPr sz="3628"/>
            </a:lvl1pPr>
            <a:lvl2pPr>
              <a:defRPr sz="3175"/>
            </a:lvl2pPr>
            <a:lvl3pPr>
              <a:defRPr sz="2721"/>
            </a:lvl3pPr>
            <a:lvl4pPr>
              <a:defRPr sz="2268"/>
            </a:lvl4pPr>
            <a:lvl5pPr>
              <a:defRPr sz="2268"/>
            </a:lvl5pPr>
            <a:lvl6pPr>
              <a:defRPr sz="2268"/>
            </a:lvl6pPr>
            <a:lvl7pPr>
              <a:defRPr sz="2268"/>
            </a:lvl7pPr>
            <a:lvl8pPr>
              <a:defRPr sz="2268"/>
            </a:lvl8pPr>
            <a:lvl9pPr>
              <a:defRPr sz="226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1326" y="2332673"/>
            <a:ext cx="3518021" cy="4321564"/>
          </a:xfrm>
        </p:spPr>
        <p:txBody>
          <a:bodyPr/>
          <a:lstStyle>
            <a:lvl1pPr marL="0" indent="0">
              <a:buNone/>
              <a:defRPr sz="1814"/>
            </a:lvl1pPr>
            <a:lvl2pPr marL="518373" indent="0">
              <a:buNone/>
              <a:defRPr sz="1587"/>
            </a:lvl2pPr>
            <a:lvl3pPr marL="1036747" indent="0">
              <a:buNone/>
              <a:defRPr sz="1361"/>
            </a:lvl3pPr>
            <a:lvl4pPr marL="1555120" indent="0">
              <a:buNone/>
              <a:defRPr sz="1134"/>
            </a:lvl4pPr>
            <a:lvl5pPr marL="2073493" indent="0">
              <a:buNone/>
              <a:defRPr sz="1134"/>
            </a:lvl5pPr>
            <a:lvl6pPr marL="2591867" indent="0">
              <a:buNone/>
              <a:defRPr sz="1134"/>
            </a:lvl6pPr>
            <a:lvl7pPr marL="3110240" indent="0">
              <a:buNone/>
              <a:defRPr sz="1134"/>
            </a:lvl7pPr>
            <a:lvl8pPr marL="3628614" indent="0">
              <a:buNone/>
              <a:defRPr sz="1134"/>
            </a:lvl8pPr>
            <a:lvl9pPr marL="4146987" indent="0">
              <a:buNone/>
              <a:defRPr sz="113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7000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26" y="518372"/>
            <a:ext cx="3518021" cy="1814301"/>
          </a:xfrm>
        </p:spPr>
        <p:txBody>
          <a:bodyPr anchor="b"/>
          <a:lstStyle>
            <a:lvl1pPr>
              <a:defRPr sz="362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37199" y="1119540"/>
            <a:ext cx="5522030" cy="5525698"/>
          </a:xfrm>
        </p:spPr>
        <p:txBody>
          <a:bodyPr anchor="t"/>
          <a:lstStyle>
            <a:lvl1pPr marL="0" indent="0">
              <a:buNone/>
              <a:defRPr sz="3628"/>
            </a:lvl1pPr>
            <a:lvl2pPr marL="518373" indent="0">
              <a:buNone/>
              <a:defRPr sz="3175"/>
            </a:lvl2pPr>
            <a:lvl3pPr marL="1036747" indent="0">
              <a:buNone/>
              <a:defRPr sz="2721"/>
            </a:lvl3pPr>
            <a:lvl4pPr marL="1555120" indent="0">
              <a:buNone/>
              <a:defRPr sz="2268"/>
            </a:lvl4pPr>
            <a:lvl5pPr marL="2073493" indent="0">
              <a:buNone/>
              <a:defRPr sz="2268"/>
            </a:lvl5pPr>
            <a:lvl6pPr marL="2591867" indent="0">
              <a:buNone/>
              <a:defRPr sz="2268"/>
            </a:lvl6pPr>
            <a:lvl7pPr marL="3110240" indent="0">
              <a:buNone/>
              <a:defRPr sz="2268"/>
            </a:lvl7pPr>
            <a:lvl8pPr marL="3628614" indent="0">
              <a:buNone/>
              <a:defRPr sz="2268"/>
            </a:lvl8pPr>
            <a:lvl9pPr marL="4146987" indent="0">
              <a:buNone/>
              <a:defRPr sz="226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1326" y="2332673"/>
            <a:ext cx="3518021" cy="4321564"/>
          </a:xfrm>
        </p:spPr>
        <p:txBody>
          <a:bodyPr/>
          <a:lstStyle>
            <a:lvl1pPr marL="0" indent="0">
              <a:buNone/>
              <a:defRPr sz="1814"/>
            </a:lvl1pPr>
            <a:lvl2pPr marL="518373" indent="0">
              <a:buNone/>
              <a:defRPr sz="1587"/>
            </a:lvl2pPr>
            <a:lvl3pPr marL="1036747" indent="0">
              <a:buNone/>
              <a:defRPr sz="1361"/>
            </a:lvl3pPr>
            <a:lvl4pPr marL="1555120" indent="0">
              <a:buNone/>
              <a:defRPr sz="1134"/>
            </a:lvl4pPr>
            <a:lvl5pPr marL="2073493" indent="0">
              <a:buNone/>
              <a:defRPr sz="1134"/>
            </a:lvl5pPr>
            <a:lvl6pPr marL="2591867" indent="0">
              <a:buNone/>
              <a:defRPr sz="1134"/>
            </a:lvl6pPr>
            <a:lvl7pPr marL="3110240" indent="0">
              <a:buNone/>
              <a:defRPr sz="1134"/>
            </a:lvl7pPr>
            <a:lvl8pPr marL="3628614" indent="0">
              <a:buNone/>
              <a:defRPr sz="1134"/>
            </a:lvl8pPr>
            <a:lvl9pPr marL="4146987" indent="0">
              <a:buNone/>
              <a:defRPr sz="113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8616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49906" y="413979"/>
            <a:ext cx="9407902" cy="15029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9906" y="2069887"/>
            <a:ext cx="9407902" cy="49335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9905" y="7206808"/>
            <a:ext cx="2454235" cy="4139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6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3180" y="7206808"/>
            <a:ext cx="3681353" cy="4139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6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3573" y="7206808"/>
            <a:ext cx="2454235" cy="4139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6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20">
            <a:extLst>
              <a:ext uri="{FF2B5EF4-FFF2-40B4-BE49-F238E27FC236}">
                <a16:creationId xmlns:a16="http://schemas.microsoft.com/office/drawing/2014/main" xmlns="" id="{45B24CE2-2EEA-43A7-8AFB-7498EA382069}"/>
              </a:ext>
            </a:extLst>
          </p:cNvPr>
          <p:cNvSpPr/>
          <p:nvPr userDrawn="1"/>
        </p:nvSpPr>
        <p:spPr>
          <a:xfrm>
            <a:off x="560667" y="7409082"/>
            <a:ext cx="3052514" cy="1415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778877">
              <a:defRPr/>
            </a:pPr>
            <a:r>
              <a:rPr lang="ru-RU" sz="894" dirty="0">
                <a:solidFill>
                  <a:schemeClr val="bg2">
                    <a:lumMod val="9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894" dirty="0">
                <a:solidFill>
                  <a:schemeClr val="bg2">
                    <a:lumMod val="90000"/>
                  </a:schemeClr>
                </a:solidFill>
                <a:latin typeface="Calibri"/>
              </a:rPr>
              <a:t>21</a:t>
            </a:r>
            <a:endParaRPr lang="ru-RU" sz="894" dirty="0">
              <a:solidFill>
                <a:schemeClr val="bg2">
                  <a:lumMod val="90000"/>
                </a:schemeClr>
              </a:solidFill>
              <a:latin typeface="Calibri"/>
            </a:endParaRP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2169662" y="574362"/>
            <a:ext cx="1746" cy="533466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44"/>
          <p:cNvGrpSpPr/>
          <p:nvPr userDrawn="1"/>
        </p:nvGrpSpPr>
        <p:grpSpPr>
          <a:xfrm>
            <a:off x="677614" y="629029"/>
            <a:ext cx="1226615" cy="424132"/>
            <a:chOff x="338369" y="163286"/>
            <a:chExt cx="1440066" cy="497938"/>
          </a:xfrm>
        </p:grpSpPr>
        <p:sp>
          <p:nvSpPr>
            <p:cNvPr id="10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/>
            </a:p>
          </p:txBody>
        </p:sp>
      </p:grpSp>
    </p:spTree>
    <p:extLst>
      <p:ext uri="{BB962C8B-B14F-4D97-AF65-F5344CB8AC3E}">
        <p14:creationId xmlns:p14="http://schemas.microsoft.com/office/powerpoint/2010/main" val="3745290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hf hdr="0" ftr="0" dt="0"/>
  <p:txStyles>
    <p:titleStyle>
      <a:lvl1pPr algn="l" defTabSz="1036747" rtl="0" eaLnBrk="1" latinLnBrk="0" hangingPunct="1">
        <a:lnSpc>
          <a:spcPct val="90000"/>
        </a:lnSpc>
        <a:spcBef>
          <a:spcPct val="0"/>
        </a:spcBef>
        <a:buNone/>
        <a:defRPr sz="498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9187" indent="-259187" algn="l" defTabSz="1036747" rtl="0" eaLnBrk="1" latinLnBrk="0" hangingPunct="1">
        <a:lnSpc>
          <a:spcPct val="90000"/>
        </a:lnSpc>
        <a:spcBef>
          <a:spcPts val="1134"/>
        </a:spcBef>
        <a:buFont typeface="Arial" panose="020B0604020202020204" pitchFamily="34" charset="0"/>
        <a:buChar char="•"/>
        <a:defRPr sz="3175" kern="1200">
          <a:solidFill>
            <a:schemeClr val="tx1"/>
          </a:solidFill>
          <a:latin typeface="+mn-lt"/>
          <a:ea typeface="+mn-ea"/>
          <a:cs typeface="+mn-cs"/>
        </a:defRPr>
      </a:lvl1pPr>
      <a:lvl2pPr marL="777560" indent="-259187" algn="l" defTabSz="1036747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721" kern="1200">
          <a:solidFill>
            <a:schemeClr val="tx1"/>
          </a:solidFill>
          <a:latin typeface="+mn-lt"/>
          <a:ea typeface="+mn-ea"/>
          <a:cs typeface="+mn-cs"/>
        </a:defRPr>
      </a:lvl2pPr>
      <a:lvl3pPr marL="1295933" indent="-259187" algn="l" defTabSz="1036747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814307" indent="-259187" algn="l" defTabSz="1036747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4pPr>
      <a:lvl5pPr marL="2332680" indent="-259187" algn="l" defTabSz="1036747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5pPr>
      <a:lvl6pPr marL="2851053" indent="-259187" algn="l" defTabSz="1036747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6pPr>
      <a:lvl7pPr marL="3369427" indent="-259187" algn="l" defTabSz="1036747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7pPr>
      <a:lvl8pPr marL="3887800" indent="-259187" algn="l" defTabSz="1036747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8pPr>
      <a:lvl9pPr marL="4406174" indent="-259187" algn="l" defTabSz="1036747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6747" rtl="0" eaLnBrk="1" latinLnBrk="0" hangingPunct="1">
        <a:defRPr sz="2041" kern="1200">
          <a:solidFill>
            <a:schemeClr val="tx1"/>
          </a:solidFill>
          <a:latin typeface="+mn-lt"/>
          <a:ea typeface="+mn-ea"/>
          <a:cs typeface="+mn-cs"/>
        </a:defRPr>
      </a:lvl1pPr>
      <a:lvl2pPr marL="518373" algn="l" defTabSz="1036747" rtl="0" eaLnBrk="1" latinLnBrk="0" hangingPunct="1">
        <a:defRPr sz="2041" kern="1200">
          <a:solidFill>
            <a:schemeClr val="tx1"/>
          </a:solidFill>
          <a:latin typeface="+mn-lt"/>
          <a:ea typeface="+mn-ea"/>
          <a:cs typeface="+mn-cs"/>
        </a:defRPr>
      </a:lvl2pPr>
      <a:lvl3pPr marL="1036747" algn="l" defTabSz="1036747" rtl="0" eaLnBrk="1" latinLnBrk="0" hangingPunct="1">
        <a:defRPr sz="2041" kern="1200">
          <a:solidFill>
            <a:schemeClr val="tx1"/>
          </a:solidFill>
          <a:latin typeface="+mn-lt"/>
          <a:ea typeface="+mn-ea"/>
          <a:cs typeface="+mn-cs"/>
        </a:defRPr>
      </a:lvl3pPr>
      <a:lvl4pPr marL="1555120" algn="l" defTabSz="1036747" rtl="0" eaLnBrk="1" latinLnBrk="0" hangingPunct="1">
        <a:defRPr sz="2041" kern="1200">
          <a:solidFill>
            <a:schemeClr val="tx1"/>
          </a:solidFill>
          <a:latin typeface="+mn-lt"/>
          <a:ea typeface="+mn-ea"/>
          <a:cs typeface="+mn-cs"/>
        </a:defRPr>
      </a:lvl4pPr>
      <a:lvl5pPr marL="2073493" algn="l" defTabSz="1036747" rtl="0" eaLnBrk="1" latinLnBrk="0" hangingPunct="1">
        <a:defRPr sz="2041" kern="1200">
          <a:solidFill>
            <a:schemeClr val="tx1"/>
          </a:solidFill>
          <a:latin typeface="+mn-lt"/>
          <a:ea typeface="+mn-ea"/>
          <a:cs typeface="+mn-cs"/>
        </a:defRPr>
      </a:lvl5pPr>
      <a:lvl6pPr marL="2591867" algn="l" defTabSz="1036747" rtl="0" eaLnBrk="1" latinLnBrk="0" hangingPunct="1">
        <a:defRPr sz="2041" kern="1200">
          <a:solidFill>
            <a:schemeClr val="tx1"/>
          </a:solidFill>
          <a:latin typeface="+mn-lt"/>
          <a:ea typeface="+mn-ea"/>
          <a:cs typeface="+mn-cs"/>
        </a:defRPr>
      </a:lvl6pPr>
      <a:lvl7pPr marL="3110240" algn="l" defTabSz="1036747" rtl="0" eaLnBrk="1" latinLnBrk="0" hangingPunct="1">
        <a:defRPr sz="2041" kern="1200">
          <a:solidFill>
            <a:schemeClr val="tx1"/>
          </a:solidFill>
          <a:latin typeface="+mn-lt"/>
          <a:ea typeface="+mn-ea"/>
          <a:cs typeface="+mn-cs"/>
        </a:defRPr>
      </a:lvl7pPr>
      <a:lvl8pPr marL="3628614" algn="l" defTabSz="1036747" rtl="0" eaLnBrk="1" latinLnBrk="0" hangingPunct="1">
        <a:defRPr sz="2041" kern="1200">
          <a:solidFill>
            <a:schemeClr val="tx1"/>
          </a:solidFill>
          <a:latin typeface="+mn-lt"/>
          <a:ea typeface="+mn-ea"/>
          <a:cs typeface="+mn-cs"/>
        </a:defRPr>
      </a:lvl8pPr>
      <a:lvl9pPr marL="4146987" algn="l" defTabSz="1036747" rtl="0" eaLnBrk="1" latinLnBrk="0" hangingPunct="1">
        <a:defRPr sz="204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ormirovanie-funkcionalnoj-gramotnosti-sbornik-zadach-po-russkomu-yazyku-dlya-8-11-klassov2781" TargetMode="External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3.gif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63" Type="http://schemas.openxmlformats.org/officeDocument/2006/relationships/tags" Target="../tags/tag64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159" Type="http://schemas.openxmlformats.org/officeDocument/2006/relationships/tags" Target="../tags/tag160.xml"/><Relationship Id="rId170" Type="http://schemas.openxmlformats.org/officeDocument/2006/relationships/tags" Target="../tags/tag171.xml"/><Relationship Id="rId191" Type="http://schemas.openxmlformats.org/officeDocument/2006/relationships/chart" Target="../charts/chart2.xml"/><Relationship Id="rId107" Type="http://schemas.openxmlformats.org/officeDocument/2006/relationships/tags" Target="../tags/tag108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53" Type="http://schemas.openxmlformats.org/officeDocument/2006/relationships/tags" Target="../tags/tag54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149" Type="http://schemas.openxmlformats.org/officeDocument/2006/relationships/tags" Target="../tags/tag150.xml"/><Relationship Id="rId5" Type="http://schemas.openxmlformats.org/officeDocument/2006/relationships/tags" Target="../tags/tag6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181" Type="http://schemas.openxmlformats.org/officeDocument/2006/relationships/tags" Target="../tags/tag182.xml"/><Relationship Id="rId22" Type="http://schemas.openxmlformats.org/officeDocument/2006/relationships/tags" Target="../tags/tag23.xml"/><Relationship Id="rId43" Type="http://schemas.openxmlformats.org/officeDocument/2006/relationships/tags" Target="../tags/tag44.xml"/><Relationship Id="rId64" Type="http://schemas.openxmlformats.org/officeDocument/2006/relationships/tags" Target="../tags/tag65.xml"/><Relationship Id="rId118" Type="http://schemas.openxmlformats.org/officeDocument/2006/relationships/tags" Target="../tags/tag119.xml"/><Relationship Id="rId139" Type="http://schemas.openxmlformats.org/officeDocument/2006/relationships/tags" Target="../tags/tag140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71" Type="http://schemas.openxmlformats.org/officeDocument/2006/relationships/tags" Target="../tags/tag172.xml"/><Relationship Id="rId192" Type="http://schemas.openxmlformats.org/officeDocument/2006/relationships/hyperlink" Target="https://iz.ru/1190709/2021-07-09/minekonomrazvitiia-uluchshilo-otcenku-vvp-na-2021-god" TargetMode="External"/><Relationship Id="rId12" Type="http://schemas.openxmlformats.org/officeDocument/2006/relationships/tags" Target="../tags/tag13.xml"/><Relationship Id="rId33" Type="http://schemas.openxmlformats.org/officeDocument/2006/relationships/tags" Target="../tags/tag34.xml"/><Relationship Id="rId108" Type="http://schemas.openxmlformats.org/officeDocument/2006/relationships/tags" Target="../tags/tag109.xml"/><Relationship Id="rId129" Type="http://schemas.openxmlformats.org/officeDocument/2006/relationships/tags" Target="../tags/tag130.xml"/><Relationship Id="rId54" Type="http://schemas.openxmlformats.org/officeDocument/2006/relationships/tags" Target="../tags/tag55.xml"/><Relationship Id="rId75" Type="http://schemas.openxmlformats.org/officeDocument/2006/relationships/tags" Target="../tags/tag76.xml"/><Relationship Id="rId96" Type="http://schemas.openxmlformats.org/officeDocument/2006/relationships/tags" Target="../tags/tag97.xml"/><Relationship Id="rId140" Type="http://schemas.openxmlformats.org/officeDocument/2006/relationships/tags" Target="../tags/tag141.xml"/><Relationship Id="rId161" Type="http://schemas.openxmlformats.org/officeDocument/2006/relationships/tags" Target="../tags/tag162.xml"/><Relationship Id="rId182" Type="http://schemas.openxmlformats.org/officeDocument/2006/relationships/tags" Target="../tags/tag183.xml"/><Relationship Id="rId6" Type="http://schemas.openxmlformats.org/officeDocument/2006/relationships/tags" Target="../tags/tag7.xml"/><Relationship Id="rId23" Type="http://schemas.openxmlformats.org/officeDocument/2006/relationships/tags" Target="../tags/tag24.xml"/><Relationship Id="rId119" Type="http://schemas.openxmlformats.org/officeDocument/2006/relationships/tags" Target="../tags/tag120.xml"/><Relationship Id="rId44" Type="http://schemas.openxmlformats.org/officeDocument/2006/relationships/tags" Target="../tags/tag45.xml"/><Relationship Id="rId65" Type="http://schemas.openxmlformats.org/officeDocument/2006/relationships/tags" Target="../tags/tag66.xml"/><Relationship Id="rId86" Type="http://schemas.openxmlformats.org/officeDocument/2006/relationships/tags" Target="../tags/tag87.xml"/><Relationship Id="rId130" Type="http://schemas.openxmlformats.org/officeDocument/2006/relationships/tags" Target="../tags/tag131.xml"/><Relationship Id="rId151" Type="http://schemas.openxmlformats.org/officeDocument/2006/relationships/tags" Target="../tags/tag152.xml"/><Relationship Id="rId172" Type="http://schemas.openxmlformats.org/officeDocument/2006/relationships/tags" Target="../tags/tag173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tags" Target="../tags/tag11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04" Type="http://schemas.openxmlformats.org/officeDocument/2006/relationships/tags" Target="../tags/tag105.xml"/><Relationship Id="rId120" Type="http://schemas.openxmlformats.org/officeDocument/2006/relationships/tags" Target="../tags/tag121.xml"/><Relationship Id="rId125" Type="http://schemas.openxmlformats.org/officeDocument/2006/relationships/tags" Target="../tags/tag126.xml"/><Relationship Id="rId141" Type="http://schemas.openxmlformats.org/officeDocument/2006/relationships/tags" Target="../tags/tag142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oleObject" Target="../embeddings/oleObject2.bin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162" Type="http://schemas.openxmlformats.org/officeDocument/2006/relationships/tags" Target="../tags/tag163.xml"/><Relationship Id="rId183" Type="http://schemas.openxmlformats.org/officeDocument/2006/relationships/tags" Target="../tags/tag184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15" Type="http://schemas.openxmlformats.org/officeDocument/2006/relationships/tags" Target="../tags/tag116.xml"/><Relationship Id="rId131" Type="http://schemas.openxmlformats.org/officeDocument/2006/relationships/tags" Target="../tags/tag132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52" Type="http://schemas.openxmlformats.org/officeDocument/2006/relationships/tags" Target="../tags/tag153.xml"/><Relationship Id="rId173" Type="http://schemas.openxmlformats.org/officeDocument/2006/relationships/tags" Target="../tags/tag174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Relationship Id="rId163" Type="http://schemas.openxmlformats.org/officeDocument/2006/relationships/tags" Target="../tags/tag164.xml"/><Relationship Id="rId184" Type="http://schemas.openxmlformats.org/officeDocument/2006/relationships/tags" Target="../tags/tag185.xml"/><Relationship Id="rId189" Type="http://schemas.openxmlformats.org/officeDocument/2006/relationships/image" Target="../media/image3.emf"/><Relationship Id="rId3" Type="http://schemas.openxmlformats.org/officeDocument/2006/relationships/tags" Target="../tags/tag4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53" Type="http://schemas.openxmlformats.org/officeDocument/2006/relationships/tags" Target="../tags/tag154.xml"/><Relationship Id="rId174" Type="http://schemas.openxmlformats.org/officeDocument/2006/relationships/tags" Target="../tags/tag175.xml"/><Relationship Id="rId179" Type="http://schemas.openxmlformats.org/officeDocument/2006/relationships/tags" Target="../tags/tag180.xml"/><Relationship Id="rId190" Type="http://schemas.openxmlformats.org/officeDocument/2006/relationships/chart" Target="../charts/chart1.xml"/><Relationship Id="rId15" Type="http://schemas.openxmlformats.org/officeDocument/2006/relationships/tags" Target="../tags/tag16.xml"/><Relationship Id="rId36" Type="http://schemas.openxmlformats.org/officeDocument/2006/relationships/tags" Target="../tags/tag37.xml"/><Relationship Id="rId57" Type="http://schemas.openxmlformats.org/officeDocument/2006/relationships/tags" Target="../tags/tag58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94" Type="http://schemas.openxmlformats.org/officeDocument/2006/relationships/tags" Target="../tags/tag95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43" Type="http://schemas.openxmlformats.org/officeDocument/2006/relationships/tags" Target="../tags/tag144.xml"/><Relationship Id="rId148" Type="http://schemas.openxmlformats.org/officeDocument/2006/relationships/tags" Target="../tags/tag149.xml"/><Relationship Id="rId164" Type="http://schemas.openxmlformats.org/officeDocument/2006/relationships/tags" Target="../tags/tag165.xml"/><Relationship Id="rId169" Type="http://schemas.openxmlformats.org/officeDocument/2006/relationships/tags" Target="../tags/tag170.xml"/><Relationship Id="rId185" Type="http://schemas.openxmlformats.org/officeDocument/2006/relationships/tags" Target="../tags/tag18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80" Type="http://schemas.openxmlformats.org/officeDocument/2006/relationships/tags" Target="../tags/tag181.xml"/><Relationship Id="rId26" Type="http://schemas.openxmlformats.org/officeDocument/2006/relationships/tags" Target="../tags/tag27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tags" Target="../tags/tag176.xml"/><Relationship Id="rId16" Type="http://schemas.openxmlformats.org/officeDocument/2006/relationships/tags" Target="../tags/tag17.xml"/><Relationship Id="rId37" Type="http://schemas.openxmlformats.org/officeDocument/2006/relationships/tags" Target="../tags/tag38.xml"/><Relationship Id="rId58" Type="http://schemas.openxmlformats.org/officeDocument/2006/relationships/tags" Target="../tags/tag59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44" Type="http://schemas.openxmlformats.org/officeDocument/2006/relationships/tags" Target="../tags/tag145.xml"/><Relationship Id="rId90" Type="http://schemas.openxmlformats.org/officeDocument/2006/relationships/tags" Target="../tags/tag91.xml"/><Relationship Id="rId165" Type="http://schemas.openxmlformats.org/officeDocument/2006/relationships/tags" Target="../tags/tag166.xml"/><Relationship Id="rId186" Type="http://schemas.openxmlformats.org/officeDocument/2006/relationships/slideLayout" Target="../slideLayouts/slideLayout2.xml"/><Relationship Id="rId27" Type="http://schemas.openxmlformats.org/officeDocument/2006/relationships/tags" Target="../tags/tag28.xml"/><Relationship Id="rId48" Type="http://schemas.openxmlformats.org/officeDocument/2006/relationships/tags" Target="../tags/tag49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34" Type="http://schemas.openxmlformats.org/officeDocument/2006/relationships/tags" Target="../tags/tag135.xml"/><Relationship Id="rId80" Type="http://schemas.openxmlformats.org/officeDocument/2006/relationships/tags" Target="../tags/tag81.xml"/><Relationship Id="rId155" Type="http://schemas.openxmlformats.org/officeDocument/2006/relationships/tags" Target="../tags/tag156.xml"/><Relationship Id="rId176" Type="http://schemas.openxmlformats.org/officeDocument/2006/relationships/tags" Target="../tags/tag177.xml"/><Relationship Id="rId17" Type="http://schemas.openxmlformats.org/officeDocument/2006/relationships/tags" Target="../tags/tag18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24" Type="http://schemas.openxmlformats.org/officeDocument/2006/relationships/tags" Target="../tags/tag125.xml"/><Relationship Id="rId70" Type="http://schemas.openxmlformats.org/officeDocument/2006/relationships/tags" Target="../tags/tag71.xml"/><Relationship Id="rId91" Type="http://schemas.openxmlformats.org/officeDocument/2006/relationships/tags" Target="../tags/tag92.xml"/><Relationship Id="rId145" Type="http://schemas.openxmlformats.org/officeDocument/2006/relationships/tags" Target="../tags/tag146.xml"/><Relationship Id="rId166" Type="http://schemas.openxmlformats.org/officeDocument/2006/relationships/tags" Target="../tags/tag167.xml"/><Relationship Id="rId187" Type="http://schemas.openxmlformats.org/officeDocument/2006/relationships/notesSlide" Target="../notesSlides/notesSlide2.xml"/><Relationship Id="rId1" Type="http://schemas.openxmlformats.org/officeDocument/2006/relationships/vmlDrawing" Target="../drawings/vmlDrawing2.v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60" Type="http://schemas.openxmlformats.org/officeDocument/2006/relationships/tags" Target="../tags/tag61.xml"/><Relationship Id="rId81" Type="http://schemas.openxmlformats.org/officeDocument/2006/relationships/tags" Target="../tags/tag82.xml"/><Relationship Id="rId135" Type="http://schemas.openxmlformats.org/officeDocument/2006/relationships/tags" Target="../tags/tag136.xml"/><Relationship Id="rId156" Type="http://schemas.openxmlformats.org/officeDocument/2006/relationships/tags" Target="../tags/tag157.xml"/><Relationship Id="rId177" Type="http://schemas.openxmlformats.org/officeDocument/2006/relationships/tags" Target="../tags/tag178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11.xml"/><Relationship Id="rId117" Type="http://schemas.openxmlformats.org/officeDocument/2006/relationships/tags" Target="../tags/tag302.xml"/><Relationship Id="rId21" Type="http://schemas.openxmlformats.org/officeDocument/2006/relationships/tags" Target="../tags/tag206.xml"/><Relationship Id="rId42" Type="http://schemas.openxmlformats.org/officeDocument/2006/relationships/tags" Target="../tags/tag227.xml"/><Relationship Id="rId47" Type="http://schemas.openxmlformats.org/officeDocument/2006/relationships/tags" Target="../tags/tag232.xml"/><Relationship Id="rId63" Type="http://schemas.openxmlformats.org/officeDocument/2006/relationships/tags" Target="../tags/tag248.xml"/><Relationship Id="rId68" Type="http://schemas.openxmlformats.org/officeDocument/2006/relationships/tags" Target="../tags/tag253.xml"/><Relationship Id="rId84" Type="http://schemas.openxmlformats.org/officeDocument/2006/relationships/tags" Target="../tags/tag269.xml"/><Relationship Id="rId89" Type="http://schemas.openxmlformats.org/officeDocument/2006/relationships/tags" Target="../tags/tag274.xml"/><Relationship Id="rId112" Type="http://schemas.openxmlformats.org/officeDocument/2006/relationships/tags" Target="../tags/tag297.xml"/><Relationship Id="rId16" Type="http://schemas.openxmlformats.org/officeDocument/2006/relationships/tags" Target="../tags/tag201.xml"/><Relationship Id="rId107" Type="http://schemas.openxmlformats.org/officeDocument/2006/relationships/tags" Target="../tags/tag292.xml"/><Relationship Id="rId11" Type="http://schemas.openxmlformats.org/officeDocument/2006/relationships/tags" Target="../tags/tag196.xml"/><Relationship Id="rId32" Type="http://schemas.openxmlformats.org/officeDocument/2006/relationships/tags" Target="../tags/tag217.xml"/><Relationship Id="rId37" Type="http://schemas.openxmlformats.org/officeDocument/2006/relationships/tags" Target="../tags/tag222.xml"/><Relationship Id="rId53" Type="http://schemas.openxmlformats.org/officeDocument/2006/relationships/tags" Target="../tags/tag238.xml"/><Relationship Id="rId58" Type="http://schemas.openxmlformats.org/officeDocument/2006/relationships/tags" Target="../tags/tag243.xml"/><Relationship Id="rId74" Type="http://schemas.openxmlformats.org/officeDocument/2006/relationships/tags" Target="../tags/tag259.xml"/><Relationship Id="rId79" Type="http://schemas.openxmlformats.org/officeDocument/2006/relationships/tags" Target="../tags/tag264.xml"/><Relationship Id="rId102" Type="http://schemas.openxmlformats.org/officeDocument/2006/relationships/tags" Target="../tags/tag287.xml"/><Relationship Id="rId123" Type="http://schemas.openxmlformats.org/officeDocument/2006/relationships/chart" Target="../charts/chart4.xml"/><Relationship Id="rId5" Type="http://schemas.openxmlformats.org/officeDocument/2006/relationships/tags" Target="../tags/tag190.xml"/><Relationship Id="rId90" Type="http://schemas.openxmlformats.org/officeDocument/2006/relationships/tags" Target="../tags/tag275.xml"/><Relationship Id="rId95" Type="http://schemas.openxmlformats.org/officeDocument/2006/relationships/tags" Target="../tags/tag280.xml"/><Relationship Id="rId22" Type="http://schemas.openxmlformats.org/officeDocument/2006/relationships/tags" Target="../tags/tag207.xml"/><Relationship Id="rId27" Type="http://schemas.openxmlformats.org/officeDocument/2006/relationships/tags" Target="../tags/tag212.xml"/><Relationship Id="rId43" Type="http://schemas.openxmlformats.org/officeDocument/2006/relationships/tags" Target="../tags/tag228.xml"/><Relationship Id="rId48" Type="http://schemas.openxmlformats.org/officeDocument/2006/relationships/tags" Target="../tags/tag233.xml"/><Relationship Id="rId64" Type="http://schemas.openxmlformats.org/officeDocument/2006/relationships/tags" Target="../tags/tag249.xml"/><Relationship Id="rId69" Type="http://schemas.openxmlformats.org/officeDocument/2006/relationships/tags" Target="../tags/tag254.xml"/><Relationship Id="rId113" Type="http://schemas.openxmlformats.org/officeDocument/2006/relationships/tags" Target="../tags/tag298.xml"/><Relationship Id="rId118" Type="http://schemas.openxmlformats.org/officeDocument/2006/relationships/slideLayout" Target="../slideLayouts/slideLayout2.xml"/><Relationship Id="rId80" Type="http://schemas.openxmlformats.org/officeDocument/2006/relationships/tags" Target="../tags/tag265.xml"/><Relationship Id="rId85" Type="http://schemas.openxmlformats.org/officeDocument/2006/relationships/tags" Target="../tags/tag270.xml"/><Relationship Id="rId12" Type="http://schemas.openxmlformats.org/officeDocument/2006/relationships/tags" Target="../tags/tag197.xml"/><Relationship Id="rId17" Type="http://schemas.openxmlformats.org/officeDocument/2006/relationships/tags" Target="../tags/tag202.xml"/><Relationship Id="rId33" Type="http://schemas.openxmlformats.org/officeDocument/2006/relationships/tags" Target="../tags/tag218.xml"/><Relationship Id="rId38" Type="http://schemas.openxmlformats.org/officeDocument/2006/relationships/tags" Target="../tags/tag223.xml"/><Relationship Id="rId59" Type="http://schemas.openxmlformats.org/officeDocument/2006/relationships/tags" Target="../tags/tag244.xml"/><Relationship Id="rId103" Type="http://schemas.openxmlformats.org/officeDocument/2006/relationships/tags" Target="../tags/tag288.xml"/><Relationship Id="rId108" Type="http://schemas.openxmlformats.org/officeDocument/2006/relationships/tags" Target="../tags/tag293.xml"/><Relationship Id="rId54" Type="http://schemas.openxmlformats.org/officeDocument/2006/relationships/tags" Target="../tags/tag239.xml"/><Relationship Id="rId70" Type="http://schemas.openxmlformats.org/officeDocument/2006/relationships/tags" Target="../tags/tag255.xml"/><Relationship Id="rId75" Type="http://schemas.openxmlformats.org/officeDocument/2006/relationships/tags" Target="../tags/tag260.xml"/><Relationship Id="rId91" Type="http://schemas.openxmlformats.org/officeDocument/2006/relationships/tags" Target="../tags/tag276.xml"/><Relationship Id="rId96" Type="http://schemas.openxmlformats.org/officeDocument/2006/relationships/tags" Target="../tags/tag28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1.xml"/><Relationship Id="rId23" Type="http://schemas.openxmlformats.org/officeDocument/2006/relationships/tags" Target="../tags/tag208.xml"/><Relationship Id="rId28" Type="http://schemas.openxmlformats.org/officeDocument/2006/relationships/tags" Target="../tags/tag213.xml"/><Relationship Id="rId49" Type="http://schemas.openxmlformats.org/officeDocument/2006/relationships/tags" Target="../tags/tag234.xml"/><Relationship Id="rId114" Type="http://schemas.openxmlformats.org/officeDocument/2006/relationships/tags" Target="../tags/tag299.xml"/><Relationship Id="rId119" Type="http://schemas.openxmlformats.org/officeDocument/2006/relationships/notesSlide" Target="../notesSlides/notesSlide3.xml"/><Relationship Id="rId44" Type="http://schemas.openxmlformats.org/officeDocument/2006/relationships/tags" Target="../tags/tag229.xml"/><Relationship Id="rId60" Type="http://schemas.openxmlformats.org/officeDocument/2006/relationships/tags" Target="../tags/tag245.xml"/><Relationship Id="rId65" Type="http://schemas.openxmlformats.org/officeDocument/2006/relationships/tags" Target="../tags/tag250.xml"/><Relationship Id="rId81" Type="http://schemas.openxmlformats.org/officeDocument/2006/relationships/tags" Target="../tags/tag266.xml"/><Relationship Id="rId86" Type="http://schemas.openxmlformats.org/officeDocument/2006/relationships/tags" Target="../tags/tag271.xml"/><Relationship Id="rId4" Type="http://schemas.openxmlformats.org/officeDocument/2006/relationships/tags" Target="../tags/tag189.xml"/><Relationship Id="rId9" Type="http://schemas.openxmlformats.org/officeDocument/2006/relationships/tags" Target="../tags/tag194.xml"/><Relationship Id="rId13" Type="http://schemas.openxmlformats.org/officeDocument/2006/relationships/tags" Target="../tags/tag198.xml"/><Relationship Id="rId18" Type="http://schemas.openxmlformats.org/officeDocument/2006/relationships/tags" Target="../tags/tag203.xml"/><Relationship Id="rId39" Type="http://schemas.openxmlformats.org/officeDocument/2006/relationships/tags" Target="../tags/tag224.xml"/><Relationship Id="rId109" Type="http://schemas.openxmlformats.org/officeDocument/2006/relationships/tags" Target="../tags/tag294.xml"/><Relationship Id="rId34" Type="http://schemas.openxmlformats.org/officeDocument/2006/relationships/tags" Target="../tags/tag219.xml"/><Relationship Id="rId50" Type="http://schemas.openxmlformats.org/officeDocument/2006/relationships/tags" Target="../tags/tag235.xml"/><Relationship Id="rId55" Type="http://schemas.openxmlformats.org/officeDocument/2006/relationships/tags" Target="../tags/tag240.xml"/><Relationship Id="rId76" Type="http://schemas.openxmlformats.org/officeDocument/2006/relationships/tags" Target="../tags/tag261.xml"/><Relationship Id="rId97" Type="http://schemas.openxmlformats.org/officeDocument/2006/relationships/tags" Target="../tags/tag282.xml"/><Relationship Id="rId104" Type="http://schemas.openxmlformats.org/officeDocument/2006/relationships/tags" Target="../tags/tag289.xml"/><Relationship Id="rId120" Type="http://schemas.openxmlformats.org/officeDocument/2006/relationships/oleObject" Target="../embeddings/oleObject3.bin"/><Relationship Id="rId7" Type="http://schemas.openxmlformats.org/officeDocument/2006/relationships/tags" Target="../tags/tag192.xml"/><Relationship Id="rId71" Type="http://schemas.openxmlformats.org/officeDocument/2006/relationships/tags" Target="../tags/tag256.xml"/><Relationship Id="rId92" Type="http://schemas.openxmlformats.org/officeDocument/2006/relationships/tags" Target="../tags/tag277.xml"/><Relationship Id="rId2" Type="http://schemas.openxmlformats.org/officeDocument/2006/relationships/tags" Target="../tags/tag187.xml"/><Relationship Id="rId29" Type="http://schemas.openxmlformats.org/officeDocument/2006/relationships/tags" Target="../tags/tag214.xml"/><Relationship Id="rId24" Type="http://schemas.openxmlformats.org/officeDocument/2006/relationships/tags" Target="../tags/tag209.xml"/><Relationship Id="rId40" Type="http://schemas.openxmlformats.org/officeDocument/2006/relationships/tags" Target="../tags/tag225.xml"/><Relationship Id="rId45" Type="http://schemas.openxmlformats.org/officeDocument/2006/relationships/tags" Target="../tags/tag230.xml"/><Relationship Id="rId66" Type="http://schemas.openxmlformats.org/officeDocument/2006/relationships/tags" Target="../tags/tag251.xml"/><Relationship Id="rId87" Type="http://schemas.openxmlformats.org/officeDocument/2006/relationships/tags" Target="../tags/tag272.xml"/><Relationship Id="rId110" Type="http://schemas.openxmlformats.org/officeDocument/2006/relationships/tags" Target="../tags/tag295.xml"/><Relationship Id="rId115" Type="http://schemas.openxmlformats.org/officeDocument/2006/relationships/tags" Target="../tags/tag300.xml"/><Relationship Id="rId61" Type="http://schemas.openxmlformats.org/officeDocument/2006/relationships/tags" Target="../tags/tag246.xml"/><Relationship Id="rId82" Type="http://schemas.openxmlformats.org/officeDocument/2006/relationships/tags" Target="../tags/tag267.xml"/><Relationship Id="rId19" Type="http://schemas.openxmlformats.org/officeDocument/2006/relationships/tags" Target="../tags/tag204.xml"/><Relationship Id="rId14" Type="http://schemas.openxmlformats.org/officeDocument/2006/relationships/tags" Target="../tags/tag199.xml"/><Relationship Id="rId30" Type="http://schemas.openxmlformats.org/officeDocument/2006/relationships/tags" Target="../tags/tag215.xml"/><Relationship Id="rId35" Type="http://schemas.openxmlformats.org/officeDocument/2006/relationships/tags" Target="../tags/tag220.xml"/><Relationship Id="rId56" Type="http://schemas.openxmlformats.org/officeDocument/2006/relationships/tags" Target="../tags/tag241.xml"/><Relationship Id="rId77" Type="http://schemas.openxmlformats.org/officeDocument/2006/relationships/tags" Target="../tags/tag262.xml"/><Relationship Id="rId100" Type="http://schemas.openxmlformats.org/officeDocument/2006/relationships/tags" Target="../tags/tag285.xml"/><Relationship Id="rId105" Type="http://schemas.openxmlformats.org/officeDocument/2006/relationships/tags" Target="../tags/tag290.xml"/><Relationship Id="rId8" Type="http://schemas.openxmlformats.org/officeDocument/2006/relationships/tags" Target="../tags/tag193.xml"/><Relationship Id="rId51" Type="http://schemas.openxmlformats.org/officeDocument/2006/relationships/tags" Target="../tags/tag236.xml"/><Relationship Id="rId72" Type="http://schemas.openxmlformats.org/officeDocument/2006/relationships/tags" Target="../tags/tag257.xml"/><Relationship Id="rId93" Type="http://schemas.openxmlformats.org/officeDocument/2006/relationships/tags" Target="../tags/tag278.xml"/><Relationship Id="rId98" Type="http://schemas.openxmlformats.org/officeDocument/2006/relationships/tags" Target="../tags/tag283.xml"/><Relationship Id="rId121" Type="http://schemas.openxmlformats.org/officeDocument/2006/relationships/image" Target="../media/image3.emf"/><Relationship Id="rId3" Type="http://schemas.openxmlformats.org/officeDocument/2006/relationships/tags" Target="../tags/tag188.xml"/><Relationship Id="rId25" Type="http://schemas.openxmlformats.org/officeDocument/2006/relationships/tags" Target="../tags/tag210.xml"/><Relationship Id="rId46" Type="http://schemas.openxmlformats.org/officeDocument/2006/relationships/tags" Target="../tags/tag231.xml"/><Relationship Id="rId67" Type="http://schemas.openxmlformats.org/officeDocument/2006/relationships/tags" Target="../tags/tag252.xml"/><Relationship Id="rId116" Type="http://schemas.openxmlformats.org/officeDocument/2006/relationships/tags" Target="../tags/tag301.xml"/><Relationship Id="rId20" Type="http://schemas.openxmlformats.org/officeDocument/2006/relationships/tags" Target="../tags/tag205.xml"/><Relationship Id="rId41" Type="http://schemas.openxmlformats.org/officeDocument/2006/relationships/tags" Target="../tags/tag226.xml"/><Relationship Id="rId62" Type="http://schemas.openxmlformats.org/officeDocument/2006/relationships/tags" Target="../tags/tag247.xml"/><Relationship Id="rId83" Type="http://schemas.openxmlformats.org/officeDocument/2006/relationships/tags" Target="../tags/tag268.xml"/><Relationship Id="rId88" Type="http://schemas.openxmlformats.org/officeDocument/2006/relationships/tags" Target="../tags/tag273.xml"/><Relationship Id="rId111" Type="http://schemas.openxmlformats.org/officeDocument/2006/relationships/tags" Target="../tags/tag296.xml"/><Relationship Id="rId15" Type="http://schemas.openxmlformats.org/officeDocument/2006/relationships/tags" Target="../tags/tag200.xml"/><Relationship Id="rId36" Type="http://schemas.openxmlformats.org/officeDocument/2006/relationships/tags" Target="../tags/tag221.xml"/><Relationship Id="rId57" Type="http://schemas.openxmlformats.org/officeDocument/2006/relationships/tags" Target="../tags/tag242.xml"/><Relationship Id="rId106" Type="http://schemas.openxmlformats.org/officeDocument/2006/relationships/tags" Target="../tags/tag291.xml"/><Relationship Id="rId10" Type="http://schemas.openxmlformats.org/officeDocument/2006/relationships/tags" Target="../tags/tag195.xml"/><Relationship Id="rId31" Type="http://schemas.openxmlformats.org/officeDocument/2006/relationships/tags" Target="../tags/tag216.xml"/><Relationship Id="rId52" Type="http://schemas.openxmlformats.org/officeDocument/2006/relationships/tags" Target="../tags/tag237.xml"/><Relationship Id="rId73" Type="http://schemas.openxmlformats.org/officeDocument/2006/relationships/tags" Target="../tags/tag258.xml"/><Relationship Id="rId78" Type="http://schemas.openxmlformats.org/officeDocument/2006/relationships/tags" Target="../tags/tag263.xml"/><Relationship Id="rId94" Type="http://schemas.openxmlformats.org/officeDocument/2006/relationships/tags" Target="../tags/tag279.xml"/><Relationship Id="rId99" Type="http://schemas.openxmlformats.org/officeDocument/2006/relationships/tags" Target="../tags/tag284.xml"/><Relationship Id="rId101" Type="http://schemas.openxmlformats.org/officeDocument/2006/relationships/tags" Target="../tags/tag286.xml"/><Relationship Id="rId122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418.xml"/><Relationship Id="rId21" Type="http://schemas.openxmlformats.org/officeDocument/2006/relationships/tags" Target="../tags/tag322.xml"/><Relationship Id="rId42" Type="http://schemas.openxmlformats.org/officeDocument/2006/relationships/tags" Target="../tags/tag343.xml"/><Relationship Id="rId63" Type="http://schemas.openxmlformats.org/officeDocument/2006/relationships/tags" Target="../tags/tag364.xml"/><Relationship Id="rId84" Type="http://schemas.openxmlformats.org/officeDocument/2006/relationships/tags" Target="../tags/tag385.xml"/><Relationship Id="rId16" Type="http://schemas.openxmlformats.org/officeDocument/2006/relationships/tags" Target="../tags/tag317.xml"/><Relationship Id="rId107" Type="http://schemas.openxmlformats.org/officeDocument/2006/relationships/tags" Target="../tags/tag408.xml"/><Relationship Id="rId11" Type="http://schemas.openxmlformats.org/officeDocument/2006/relationships/tags" Target="../tags/tag312.xml"/><Relationship Id="rId32" Type="http://schemas.openxmlformats.org/officeDocument/2006/relationships/tags" Target="../tags/tag333.xml"/><Relationship Id="rId37" Type="http://schemas.openxmlformats.org/officeDocument/2006/relationships/tags" Target="../tags/tag338.xml"/><Relationship Id="rId53" Type="http://schemas.openxmlformats.org/officeDocument/2006/relationships/tags" Target="../tags/tag354.xml"/><Relationship Id="rId58" Type="http://schemas.openxmlformats.org/officeDocument/2006/relationships/tags" Target="../tags/tag359.xml"/><Relationship Id="rId74" Type="http://schemas.openxmlformats.org/officeDocument/2006/relationships/tags" Target="../tags/tag375.xml"/><Relationship Id="rId79" Type="http://schemas.openxmlformats.org/officeDocument/2006/relationships/tags" Target="../tags/tag380.xml"/><Relationship Id="rId102" Type="http://schemas.openxmlformats.org/officeDocument/2006/relationships/tags" Target="../tags/tag403.xml"/><Relationship Id="rId123" Type="http://schemas.openxmlformats.org/officeDocument/2006/relationships/tags" Target="../tags/tag424.xml"/><Relationship Id="rId128" Type="http://schemas.openxmlformats.org/officeDocument/2006/relationships/tags" Target="../tags/tag429.xml"/><Relationship Id="rId5" Type="http://schemas.openxmlformats.org/officeDocument/2006/relationships/tags" Target="../tags/tag306.xml"/><Relationship Id="rId90" Type="http://schemas.openxmlformats.org/officeDocument/2006/relationships/tags" Target="../tags/tag391.xml"/><Relationship Id="rId95" Type="http://schemas.openxmlformats.org/officeDocument/2006/relationships/tags" Target="../tags/tag396.xml"/><Relationship Id="rId22" Type="http://schemas.openxmlformats.org/officeDocument/2006/relationships/tags" Target="../tags/tag323.xml"/><Relationship Id="rId27" Type="http://schemas.openxmlformats.org/officeDocument/2006/relationships/tags" Target="../tags/tag328.xml"/><Relationship Id="rId43" Type="http://schemas.openxmlformats.org/officeDocument/2006/relationships/tags" Target="../tags/tag344.xml"/><Relationship Id="rId48" Type="http://schemas.openxmlformats.org/officeDocument/2006/relationships/tags" Target="../tags/tag349.xml"/><Relationship Id="rId64" Type="http://schemas.openxmlformats.org/officeDocument/2006/relationships/tags" Target="../tags/tag365.xml"/><Relationship Id="rId69" Type="http://schemas.openxmlformats.org/officeDocument/2006/relationships/tags" Target="../tags/tag370.xml"/><Relationship Id="rId113" Type="http://schemas.openxmlformats.org/officeDocument/2006/relationships/tags" Target="../tags/tag414.xml"/><Relationship Id="rId118" Type="http://schemas.openxmlformats.org/officeDocument/2006/relationships/tags" Target="../tags/tag419.xml"/><Relationship Id="rId134" Type="http://schemas.openxmlformats.org/officeDocument/2006/relationships/oleObject" Target="../embeddings/oleObject4.bin"/><Relationship Id="rId80" Type="http://schemas.openxmlformats.org/officeDocument/2006/relationships/tags" Target="../tags/tag381.xml"/><Relationship Id="rId85" Type="http://schemas.openxmlformats.org/officeDocument/2006/relationships/tags" Target="../tags/tag386.xml"/><Relationship Id="rId12" Type="http://schemas.openxmlformats.org/officeDocument/2006/relationships/tags" Target="../tags/tag313.xml"/><Relationship Id="rId17" Type="http://schemas.openxmlformats.org/officeDocument/2006/relationships/tags" Target="../tags/tag318.xml"/><Relationship Id="rId33" Type="http://schemas.openxmlformats.org/officeDocument/2006/relationships/tags" Target="../tags/tag334.xml"/><Relationship Id="rId38" Type="http://schemas.openxmlformats.org/officeDocument/2006/relationships/tags" Target="../tags/tag339.xml"/><Relationship Id="rId59" Type="http://schemas.openxmlformats.org/officeDocument/2006/relationships/tags" Target="../tags/tag360.xml"/><Relationship Id="rId103" Type="http://schemas.openxmlformats.org/officeDocument/2006/relationships/tags" Target="../tags/tag404.xml"/><Relationship Id="rId108" Type="http://schemas.openxmlformats.org/officeDocument/2006/relationships/tags" Target="../tags/tag409.xml"/><Relationship Id="rId124" Type="http://schemas.openxmlformats.org/officeDocument/2006/relationships/tags" Target="../tags/tag425.xml"/><Relationship Id="rId129" Type="http://schemas.openxmlformats.org/officeDocument/2006/relationships/tags" Target="../tags/tag430.xml"/><Relationship Id="rId54" Type="http://schemas.openxmlformats.org/officeDocument/2006/relationships/tags" Target="../tags/tag355.xml"/><Relationship Id="rId70" Type="http://schemas.openxmlformats.org/officeDocument/2006/relationships/tags" Target="../tags/tag371.xml"/><Relationship Id="rId75" Type="http://schemas.openxmlformats.org/officeDocument/2006/relationships/tags" Target="../tags/tag376.xml"/><Relationship Id="rId91" Type="http://schemas.openxmlformats.org/officeDocument/2006/relationships/tags" Target="../tags/tag392.xml"/><Relationship Id="rId96" Type="http://schemas.openxmlformats.org/officeDocument/2006/relationships/tags" Target="../tags/tag397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7.xml"/><Relationship Id="rId23" Type="http://schemas.openxmlformats.org/officeDocument/2006/relationships/tags" Target="../tags/tag324.xml"/><Relationship Id="rId28" Type="http://schemas.openxmlformats.org/officeDocument/2006/relationships/tags" Target="../tags/tag329.xml"/><Relationship Id="rId49" Type="http://schemas.openxmlformats.org/officeDocument/2006/relationships/tags" Target="../tags/tag350.xml"/><Relationship Id="rId114" Type="http://schemas.openxmlformats.org/officeDocument/2006/relationships/tags" Target="../tags/tag415.xml"/><Relationship Id="rId119" Type="http://schemas.openxmlformats.org/officeDocument/2006/relationships/tags" Target="../tags/tag420.xml"/><Relationship Id="rId44" Type="http://schemas.openxmlformats.org/officeDocument/2006/relationships/tags" Target="../tags/tag345.xml"/><Relationship Id="rId60" Type="http://schemas.openxmlformats.org/officeDocument/2006/relationships/tags" Target="../tags/tag361.xml"/><Relationship Id="rId65" Type="http://schemas.openxmlformats.org/officeDocument/2006/relationships/tags" Target="../tags/tag366.xml"/><Relationship Id="rId81" Type="http://schemas.openxmlformats.org/officeDocument/2006/relationships/tags" Target="../tags/tag382.xml"/><Relationship Id="rId86" Type="http://schemas.openxmlformats.org/officeDocument/2006/relationships/tags" Target="../tags/tag387.xml"/><Relationship Id="rId130" Type="http://schemas.openxmlformats.org/officeDocument/2006/relationships/tags" Target="../tags/tag431.xml"/><Relationship Id="rId135" Type="http://schemas.openxmlformats.org/officeDocument/2006/relationships/image" Target="../media/image3.emf"/><Relationship Id="rId13" Type="http://schemas.openxmlformats.org/officeDocument/2006/relationships/tags" Target="../tags/tag314.xml"/><Relationship Id="rId18" Type="http://schemas.openxmlformats.org/officeDocument/2006/relationships/tags" Target="../tags/tag319.xml"/><Relationship Id="rId39" Type="http://schemas.openxmlformats.org/officeDocument/2006/relationships/tags" Target="../tags/tag340.xml"/><Relationship Id="rId109" Type="http://schemas.openxmlformats.org/officeDocument/2006/relationships/tags" Target="../tags/tag410.xml"/><Relationship Id="rId34" Type="http://schemas.openxmlformats.org/officeDocument/2006/relationships/tags" Target="../tags/tag335.xml"/><Relationship Id="rId50" Type="http://schemas.openxmlformats.org/officeDocument/2006/relationships/tags" Target="../tags/tag351.xml"/><Relationship Id="rId55" Type="http://schemas.openxmlformats.org/officeDocument/2006/relationships/tags" Target="../tags/tag356.xml"/><Relationship Id="rId76" Type="http://schemas.openxmlformats.org/officeDocument/2006/relationships/tags" Target="../tags/tag377.xml"/><Relationship Id="rId97" Type="http://schemas.openxmlformats.org/officeDocument/2006/relationships/tags" Target="../tags/tag398.xml"/><Relationship Id="rId104" Type="http://schemas.openxmlformats.org/officeDocument/2006/relationships/tags" Target="../tags/tag405.xml"/><Relationship Id="rId120" Type="http://schemas.openxmlformats.org/officeDocument/2006/relationships/tags" Target="../tags/tag421.xml"/><Relationship Id="rId125" Type="http://schemas.openxmlformats.org/officeDocument/2006/relationships/tags" Target="../tags/tag426.xml"/><Relationship Id="rId7" Type="http://schemas.openxmlformats.org/officeDocument/2006/relationships/tags" Target="../tags/tag308.xml"/><Relationship Id="rId71" Type="http://schemas.openxmlformats.org/officeDocument/2006/relationships/tags" Target="../tags/tag372.xml"/><Relationship Id="rId92" Type="http://schemas.openxmlformats.org/officeDocument/2006/relationships/tags" Target="../tags/tag393.xml"/><Relationship Id="rId2" Type="http://schemas.openxmlformats.org/officeDocument/2006/relationships/tags" Target="../tags/tag303.xml"/><Relationship Id="rId29" Type="http://schemas.openxmlformats.org/officeDocument/2006/relationships/tags" Target="../tags/tag330.xml"/><Relationship Id="rId24" Type="http://schemas.openxmlformats.org/officeDocument/2006/relationships/tags" Target="../tags/tag325.xml"/><Relationship Id="rId40" Type="http://schemas.openxmlformats.org/officeDocument/2006/relationships/tags" Target="../tags/tag341.xml"/><Relationship Id="rId45" Type="http://schemas.openxmlformats.org/officeDocument/2006/relationships/tags" Target="../tags/tag346.xml"/><Relationship Id="rId66" Type="http://schemas.openxmlformats.org/officeDocument/2006/relationships/tags" Target="../tags/tag367.xml"/><Relationship Id="rId87" Type="http://schemas.openxmlformats.org/officeDocument/2006/relationships/tags" Target="../tags/tag388.xml"/><Relationship Id="rId110" Type="http://schemas.openxmlformats.org/officeDocument/2006/relationships/tags" Target="../tags/tag411.xml"/><Relationship Id="rId115" Type="http://schemas.openxmlformats.org/officeDocument/2006/relationships/tags" Target="../tags/tag416.xml"/><Relationship Id="rId131" Type="http://schemas.openxmlformats.org/officeDocument/2006/relationships/tags" Target="../tags/tag432.xml"/><Relationship Id="rId136" Type="http://schemas.openxmlformats.org/officeDocument/2006/relationships/hyperlink" Target="https://iz.ru/1148679/2021-04-08/v-rossii-uskorilos-ispolnenie-natcproektov-v-i-kvartale-2021-goda" TargetMode="External"/><Relationship Id="rId61" Type="http://schemas.openxmlformats.org/officeDocument/2006/relationships/tags" Target="../tags/tag362.xml"/><Relationship Id="rId82" Type="http://schemas.openxmlformats.org/officeDocument/2006/relationships/tags" Target="../tags/tag383.xml"/><Relationship Id="rId19" Type="http://schemas.openxmlformats.org/officeDocument/2006/relationships/tags" Target="../tags/tag320.xml"/><Relationship Id="rId14" Type="http://schemas.openxmlformats.org/officeDocument/2006/relationships/tags" Target="../tags/tag315.xml"/><Relationship Id="rId30" Type="http://schemas.openxmlformats.org/officeDocument/2006/relationships/tags" Target="../tags/tag331.xml"/><Relationship Id="rId35" Type="http://schemas.openxmlformats.org/officeDocument/2006/relationships/tags" Target="../tags/tag336.xml"/><Relationship Id="rId56" Type="http://schemas.openxmlformats.org/officeDocument/2006/relationships/tags" Target="../tags/tag357.xml"/><Relationship Id="rId77" Type="http://schemas.openxmlformats.org/officeDocument/2006/relationships/tags" Target="../tags/tag378.xml"/><Relationship Id="rId100" Type="http://schemas.openxmlformats.org/officeDocument/2006/relationships/tags" Target="../tags/tag401.xml"/><Relationship Id="rId105" Type="http://schemas.openxmlformats.org/officeDocument/2006/relationships/tags" Target="../tags/tag406.xml"/><Relationship Id="rId126" Type="http://schemas.openxmlformats.org/officeDocument/2006/relationships/tags" Target="../tags/tag427.xml"/><Relationship Id="rId8" Type="http://schemas.openxmlformats.org/officeDocument/2006/relationships/tags" Target="../tags/tag309.xml"/><Relationship Id="rId51" Type="http://schemas.openxmlformats.org/officeDocument/2006/relationships/tags" Target="../tags/tag352.xml"/><Relationship Id="rId72" Type="http://schemas.openxmlformats.org/officeDocument/2006/relationships/tags" Target="../tags/tag373.xml"/><Relationship Id="rId93" Type="http://schemas.openxmlformats.org/officeDocument/2006/relationships/tags" Target="../tags/tag394.xml"/><Relationship Id="rId98" Type="http://schemas.openxmlformats.org/officeDocument/2006/relationships/tags" Target="../tags/tag399.xml"/><Relationship Id="rId121" Type="http://schemas.openxmlformats.org/officeDocument/2006/relationships/tags" Target="../tags/tag422.xml"/><Relationship Id="rId3" Type="http://schemas.openxmlformats.org/officeDocument/2006/relationships/tags" Target="../tags/tag304.xml"/><Relationship Id="rId25" Type="http://schemas.openxmlformats.org/officeDocument/2006/relationships/tags" Target="../tags/tag326.xml"/><Relationship Id="rId46" Type="http://schemas.openxmlformats.org/officeDocument/2006/relationships/tags" Target="../tags/tag347.xml"/><Relationship Id="rId67" Type="http://schemas.openxmlformats.org/officeDocument/2006/relationships/tags" Target="../tags/tag368.xml"/><Relationship Id="rId116" Type="http://schemas.openxmlformats.org/officeDocument/2006/relationships/tags" Target="../tags/tag417.xml"/><Relationship Id="rId137" Type="http://schemas.openxmlformats.org/officeDocument/2006/relationships/chart" Target="../charts/chart5.xml"/><Relationship Id="rId20" Type="http://schemas.openxmlformats.org/officeDocument/2006/relationships/tags" Target="../tags/tag321.xml"/><Relationship Id="rId41" Type="http://schemas.openxmlformats.org/officeDocument/2006/relationships/tags" Target="../tags/tag342.xml"/><Relationship Id="rId62" Type="http://schemas.openxmlformats.org/officeDocument/2006/relationships/tags" Target="../tags/tag363.xml"/><Relationship Id="rId83" Type="http://schemas.openxmlformats.org/officeDocument/2006/relationships/tags" Target="../tags/tag384.xml"/><Relationship Id="rId88" Type="http://schemas.openxmlformats.org/officeDocument/2006/relationships/tags" Target="../tags/tag389.xml"/><Relationship Id="rId111" Type="http://schemas.openxmlformats.org/officeDocument/2006/relationships/tags" Target="../tags/tag412.xml"/><Relationship Id="rId132" Type="http://schemas.openxmlformats.org/officeDocument/2006/relationships/slideLayout" Target="../slideLayouts/slideLayout2.xml"/><Relationship Id="rId15" Type="http://schemas.openxmlformats.org/officeDocument/2006/relationships/tags" Target="../tags/tag316.xml"/><Relationship Id="rId36" Type="http://schemas.openxmlformats.org/officeDocument/2006/relationships/tags" Target="../tags/tag337.xml"/><Relationship Id="rId57" Type="http://schemas.openxmlformats.org/officeDocument/2006/relationships/tags" Target="../tags/tag358.xml"/><Relationship Id="rId106" Type="http://schemas.openxmlformats.org/officeDocument/2006/relationships/tags" Target="../tags/tag407.xml"/><Relationship Id="rId127" Type="http://schemas.openxmlformats.org/officeDocument/2006/relationships/tags" Target="../tags/tag428.xml"/><Relationship Id="rId10" Type="http://schemas.openxmlformats.org/officeDocument/2006/relationships/tags" Target="../tags/tag311.xml"/><Relationship Id="rId31" Type="http://schemas.openxmlformats.org/officeDocument/2006/relationships/tags" Target="../tags/tag332.xml"/><Relationship Id="rId52" Type="http://schemas.openxmlformats.org/officeDocument/2006/relationships/tags" Target="../tags/tag353.xml"/><Relationship Id="rId73" Type="http://schemas.openxmlformats.org/officeDocument/2006/relationships/tags" Target="../tags/tag374.xml"/><Relationship Id="rId78" Type="http://schemas.openxmlformats.org/officeDocument/2006/relationships/tags" Target="../tags/tag379.xml"/><Relationship Id="rId94" Type="http://schemas.openxmlformats.org/officeDocument/2006/relationships/tags" Target="../tags/tag395.xml"/><Relationship Id="rId99" Type="http://schemas.openxmlformats.org/officeDocument/2006/relationships/tags" Target="../tags/tag400.xml"/><Relationship Id="rId101" Type="http://schemas.openxmlformats.org/officeDocument/2006/relationships/tags" Target="../tags/tag402.xml"/><Relationship Id="rId122" Type="http://schemas.openxmlformats.org/officeDocument/2006/relationships/tags" Target="../tags/tag423.xml"/><Relationship Id="rId4" Type="http://schemas.openxmlformats.org/officeDocument/2006/relationships/tags" Target="../tags/tag305.xml"/><Relationship Id="rId9" Type="http://schemas.openxmlformats.org/officeDocument/2006/relationships/tags" Target="../tags/tag310.xml"/><Relationship Id="rId26" Type="http://schemas.openxmlformats.org/officeDocument/2006/relationships/tags" Target="../tags/tag327.xml"/><Relationship Id="rId47" Type="http://schemas.openxmlformats.org/officeDocument/2006/relationships/tags" Target="../tags/tag348.xml"/><Relationship Id="rId68" Type="http://schemas.openxmlformats.org/officeDocument/2006/relationships/tags" Target="../tags/tag369.xml"/><Relationship Id="rId89" Type="http://schemas.openxmlformats.org/officeDocument/2006/relationships/tags" Target="../tags/tag390.xml"/><Relationship Id="rId112" Type="http://schemas.openxmlformats.org/officeDocument/2006/relationships/tags" Target="../tags/tag413.xml"/><Relationship Id="rId133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1.jpeg"/><Relationship Id="rId5" Type="http://schemas.openxmlformats.org/officeDocument/2006/relationships/image" Target="../media/image6.png"/><Relationship Id="rId10" Type="http://schemas.openxmlformats.org/officeDocument/2006/relationships/image" Target="../media/image10.png"/><Relationship Id="rId4" Type="http://schemas.openxmlformats.org/officeDocument/2006/relationships/image" Target="../media/image5.png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43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jpe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jpeg"/><Relationship Id="rId1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2777" y="968397"/>
          <a:ext cx="1353" cy="13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2777" y="968397"/>
                        <a:ext cx="1353" cy="13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1424" y="967044"/>
            <a:ext cx="135220" cy="135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8940" t="-95" r="11781" b="-55"/>
          <a:stretch/>
        </p:blipFill>
        <p:spPr>
          <a:xfrm>
            <a:off x="-16938" y="0"/>
            <a:ext cx="10924651" cy="7775575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/>
        </p:nvSpPr>
        <p:spPr>
          <a:xfrm rot="10800000">
            <a:off x="-16939" y="-1"/>
            <a:ext cx="10924649" cy="7775573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44167" y="2154356"/>
            <a:ext cx="8702087" cy="519116"/>
          </a:xfrm>
        </p:spPr>
        <p:txBody>
          <a:bodyPr vert="horz" lIns="0" tIns="0" rIns="0" bIns="0" rtlCol="0" anchor="b">
            <a:spAutoFit/>
          </a:bodyPr>
          <a:lstStyle/>
          <a:p>
            <a:pPr algn="l"/>
            <a:r>
              <a:rPr lang="ru-RU" sz="3748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нижный рынок 2020-2023 гг.</a:t>
            </a: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C5B8FA12-8F11-450D-B1D4-14C77A453207}"/>
              </a:ext>
            </a:extLst>
          </p:cNvPr>
          <p:cNvGrpSpPr/>
          <p:nvPr/>
        </p:nvGrpSpPr>
        <p:grpSpPr>
          <a:xfrm>
            <a:off x="900961" y="673922"/>
            <a:ext cx="1815306" cy="627686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chemeClr val="bg1"/>
                </a:solidFill>
              </a:endParaRPr>
            </a:p>
          </p:txBody>
        </p:sp>
      </p:grpSp>
      <p:sp>
        <p:nvSpPr>
          <p:cNvPr id="23" name="Заголовок 1"/>
          <p:cNvSpPr txBox="1">
            <a:spLocks/>
          </p:cNvSpPr>
          <p:nvPr/>
        </p:nvSpPr>
        <p:spPr>
          <a:xfrm>
            <a:off x="868508" y="2888771"/>
            <a:ext cx="8702087" cy="59772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5000"/>
              </a:lnSpc>
            </a:pPr>
            <a:r>
              <a:rPr lang="ru-RU" sz="2044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лимишин Дмитрий Александрович, </a:t>
            </a:r>
          </a:p>
          <a:p>
            <a:pPr algn="l">
              <a:lnSpc>
                <a:spcPct val="95000"/>
              </a:lnSpc>
            </a:pPr>
            <a:r>
              <a:rPr lang="ru-RU" sz="2044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енеральный директор АО «Издательство «Просвещение»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00959" y="6855326"/>
            <a:ext cx="6142404" cy="354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767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"Просвещение"», 2021 г.</a:t>
            </a:r>
          </a:p>
        </p:txBody>
      </p:sp>
    </p:spTree>
    <p:extLst>
      <p:ext uri="{BB962C8B-B14F-4D97-AF65-F5344CB8AC3E}">
        <p14:creationId xmlns:p14="http://schemas.microsoft.com/office/powerpoint/2010/main" val="3109164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1"/>
            <a:ext cx="2971800" cy="1580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 descr="Изображение выглядит как текст, спутник, проектор&#10;&#10;Автоматически созданное описание">
            <a:extLst>
              <a:ext uri="{FF2B5EF4-FFF2-40B4-BE49-F238E27FC236}">
                <a16:creationId xmlns:a16="http://schemas.microsoft.com/office/drawing/2014/main" xmlns="" id="{B16C21BE-BE3E-4503-922B-EFEBFBD780A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96" t="633" r="10796" b="1"/>
          <a:stretch/>
        </p:blipFill>
        <p:spPr>
          <a:xfrm>
            <a:off x="0" y="-1"/>
            <a:ext cx="10907713" cy="7775575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E0FEB9D2-30F1-4E3E-B4D2-DD768AA198EC}"/>
              </a:ext>
            </a:extLst>
          </p:cNvPr>
          <p:cNvSpPr/>
          <p:nvPr/>
        </p:nvSpPr>
        <p:spPr>
          <a:xfrm rot="10800000">
            <a:off x="0" y="-1"/>
            <a:ext cx="10907713" cy="7775573"/>
          </a:xfrm>
          <a:prstGeom prst="rect">
            <a:avLst/>
          </a:prstGeom>
          <a:gradFill>
            <a:gsLst>
              <a:gs pos="0">
                <a:srgbClr val="00B0F0">
                  <a:alpha val="9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 dirty="0"/>
          </a:p>
        </p:txBody>
      </p:sp>
      <p:sp>
        <p:nvSpPr>
          <p:cNvPr id="79" name="Прямоугольник 78"/>
          <p:cNvSpPr/>
          <p:nvPr/>
        </p:nvSpPr>
        <p:spPr>
          <a:xfrm>
            <a:off x="572169" y="1884070"/>
            <a:ext cx="10035506" cy="1864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ru-RU" sz="3066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еред системой образования стоит </a:t>
            </a:r>
          </a:p>
          <a:p>
            <a:pPr algn="ctr">
              <a:lnSpc>
                <a:spcPct val="95000"/>
              </a:lnSpc>
              <a:spcBef>
                <a:spcPct val="0"/>
              </a:spcBef>
            </a:pPr>
            <a:r>
              <a:rPr lang="ru-RU" sz="3066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 вызовов</a:t>
            </a:r>
          </a:p>
          <a:p>
            <a:pPr algn="ctr">
              <a:lnSpc>
                <a:spcPct val="95000"/>
              </a:lnSpc>
              <a:spcBef>
                <a:spcPct val="0"/>
              </a:spcBef>
            </a:pPr>
            <a:endParaRPr lang="ru-RU" sz="2044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3748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ы всегда поможем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2433078" y="4543068"/>
            <a:ext cx="6332152" cy="1592836"/>
            <a:chOff x="2756236" y="3728632"/>
            <a:chExt cx="7434050" cy="1870014"/>
          </a:xfrm>
        </p:grpSpPr>
        <p:sp>
          <p:nvSpPr>
            <p:cNvPr id="21" name="Подзаголовок 2"/>
            <p:cNvSpPr txBox="1">
              <a:spLocks/>
            </p:cNvSpPr>
            <p:nvPr/>
          </p:nvSpPr>
          <p:spPr>
            <a:xfrm>
              <a:off x="5174282" y="3786476"/>
              <a:ext cx="5016004" cy="17510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1022"/>
                </a:spcAft>
                <a:buNone/>
              </a:pPr>
              <a:r>
                <a:rPr lang="ru-RU" sz="2044" b="1" spc="-34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Группа компаний «Просвещение»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ru-RU" sz="1193" b="1" spc="-34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Адрес: </a:t>
              </a:r>
              <a:r>
                <a:rPr lang="ru-RU" sz="1363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127473, Москва, ул. </a:t>
              </a:r>
              <a:r>
                <a:rPr lang="ru-RU" sz="1363" dirty="0" err="1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Краснопролетарская</a:t>
              </a:r>
              <a:r>
                <a:rPr lang="ru-RU" sz="1363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ru-RU" sz="1363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д. 16, стр. 3, подъезд 8, бизнес-центр «Новослободский»</a:t>
              </a:r>
              <a:br>
                <a:rPr lang="ru-RU" sz="1363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ru-RU" sz="1193" b="1" spc="-34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Телефон: </a:t>
              </a:r>
              <a:r>
                <a:rPr lang="ru-RU" sz="1363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+7 (495) 789-30-40</a:t>
              </a:r>
              <a:br>
                <a:rPr lang="ru-RU" sz="1363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US" sz="1193" b="1" spc="-34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e-mail</a:t>
              </a:r>
              <a:r>
                <a:rPr lang="ru-RU" sz="1193" b="1" spc="-34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: </a:t>
              </a:r>
              <a:r>
                <a:rPr lang="en-US" sz="1363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vopros@prosv.ru</a:t>
              </a:r>
              <a:r>
                <a:rPr lang="ru-RU" sz="1363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/>
              </a:r>
              <a:br>
                <a:rPr lang="ru-RU" sz="1363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ru-RU" sz="1193" b="1" spc="-34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Сайт:   </a:t>
              </a:r>
              <a:r>
                <a:rPr lang="ru-RU" sz="1363" u="sng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rosv.ru</a:t>
              </a:r>
              <a:endParaRPr lang="ru-RU" sz="2470" b="1" u="sng" spc="-34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22" name="Рисунок 24">
              <a:hlinkClick r:id="rId3"/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56236" y="3728632"/>
              <a:ext cx="1870014" cy="18700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830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60887" y="968399"/>
          <a:ext cx="1352" cy="1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Слайд think-cell" r:id="rId188" imgW="216" imgH="216" progId="TCLayout.ActiveDocument.1">
                  <p:embed/>
                </p:oleObj>
              </mc:Choice>
              <mc:Fallback>
                <p:oleObj name="Слайд think-cell" r:id="rId188" imgW="216" imgH="21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189"/>
                      <a:stretch>
                        <a:fillRect/>
                      </a:stretch>
                    </p:blipFill>
                    <p:spPr>
                      <a:xfrm>
                        <a:off x="1560887" y="968399"/>
                        <a:ext cx="1352" cy="13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1559532" y="967044"/>
            <a:ext cx="135220" cy="13522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52" b="1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997" name="Прямая соединительная линия 996"/>
          <p:cNvCxnSpPr/>
          <p:nvPr>
            <p:custDataLst>
              <p:tags r:id="rId4"/>
            </p:custDataLst>
          </p:nvPr>
        </p:nvCxnSpPr>
        <p:spPr bwMode="gray">
          <a:xfrm flipV="1">
            <a:off x="9105365" y="3699771"/>
            <a:ext cx="401603" cy="141981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0" name="Прямая соединительная линия 979"/>
          <p:cNvCxnSpPr/>
          <p:nvPr>
            <p:custDataLst>
              <p:tags r:id="rId5"/>
            </p:custDataLst>
          </p:nvPr>
        </p:nvCxnSpPr>
        <p:spPr bwMode="gray">
          <a:xfrm flipV="1">
            <a:off x="7819425" y="3926942"/>
            <a:ext cx="401603" cy="139277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3" name="Прямая соединительная линия 982"/>
          <p:cNvCxnSpPr/>
          <p:nvPr>
            <p:custDataLst>
              <p:tags r:id="rId6"/>
            </p:custDataLst>
          </p:nvPr>
        </p:nvCxnSpPr>
        <p:spPr bwMode="auto">
          <a:xfrm flipV="1">
            <a:off x="7650405" y="4032411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7" name="Прямая соединительная линия 936"/>
          <p:cNvCxnSpPr/>
          <p:nvPr>
            <p:custDataLst>
              <p:tags r:id="rId7"/>
            </p:custDataLst>
          </p:nvPr>
        </p:nvCxnSpPr>
        <p:spPr bwMode="gray">
          <a:xfrm flipV="1">
            <a:off x="3791238" y="4728793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6" name="Прямая соединительная линия 935"/>
          <p:cNvCxnSpPr/>
          <p:nvPr>
            <p:custDataLst>
              <p:tags r:id="rId8"/>
            </p:custDataLst>
          </p:nvPr>
        </p:nvCxnSpPr>
        <p:spPr bwMode="gray">
          <a:xfrm flipV="1">
            <a:off x="3791237" y="4672001"/>
            <a:ext cx="570627" cy="237986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9" name="Прямая соединительная линия 978"/>
          <p:cNvCxnSpPr/>
          <p:nvPr>
            <p:custDataLst>
              <p:tags r:id="rId9"/>
            </p:custDataLst>
          </p:nvPr>
        </p:nvCxnSpPr>
        <p:spPr bwMode="gray">
          <a:xfrm flipV="1">
            <a:off x="7650405" y="4124361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4" name="Прямая соединительная линия 933"/>
          <p:cNvCxnSpPr/>
          <p:nvPr>
            <p:custDataLst>
              <p:tags r:id="rId10"/>
            </p:custDataLst>
          </p:nvPr>
        </p:nvCxnSpPr>
        <p:spPr bwMode="gray">
          <a:xfrm flipV="1">
            <a:off x="3791237" y="5385960"/>
            <a:ext cx="570627" cy="100062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1" name="Прямая соединительная линия 980"/>
          <p:cNvCxnSpPr/>
          <p:nvPr>
            <p:custDataLst>
              <p:tags r:id="rId11"/>
            </p:custDataLst>
          </p:nvPr>
        </p:nvCxnSpPr>
        <p:spPr bwMode="gray">
          <a:xfrm flipV="1">
            <a:off x="7650405" y="4100021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4" name="Прямая соединительная линия 983"/>
          <p:cNvCxnSpPr/>
          <p:nvPr>
            <p:custDataLst>
              <p:tags r:id="rId12"/>
            </p:custDataLst>
          </p:nvPr>
        </p:nvCxnSpPr>
        <p:spPr bwMode="auto">
          <a:xfrm flipV="1">
            <a:off x="7819425" y="3829584"/>
            <a:ext cx="401603" cy="14333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5" name="Прямая соединительная линия 984"/>
          <p:cNvCxnSpPr/>
          <p:nvPr>
            <p:custDataLst>
              <p:tags r:id="rId13"/>
            </p:custDataLst>
          </p:nvPr>
        </p:nvCxnSpPr>
        <p:spPr bwMode="auto">
          <a:xfrm flipV="1">
            <a:off x="7650405" y="4032411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6" name="Прямая соединительная линия 985"/>
          <p:cNvCxnSpPr/>
          <p:nvPr>
            <p:custDataLst>
              <p:tags r:id="rId14"/>
            </p:custDataLst>
          </p:nvPr>
        </p:nvCxnSpPr>
        <p:spPr bwMode="auto">
          <a:xfrm flipV="1">
            <a:off x="7819425" y="3828233"/>
            <a:ext cx="401603" cy="14468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1" name="Прямая соединительная линия 1060"/>
          <p:cNvCxnSpPr/>
          <p:nvPr>
            <p:custDataLst>
              <p:tags r:id="rId15"/>
            </p:custDataLst>
          </p:nvPr>
        </p:nvCxnSpPr>
        <p:spPr bwMode="auto">
          <a:xfrm flipV="1">
            <a:off x="5246198" y="4225774"/>
            <a:ext cx="401603" cy="108176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1" name="Прямая соединительная линия 990"/>
          <p:cNvCxnSpPr/>
          <p:nvPr>
            <p:custDataLst>
              <p:tags r:id="rId16"/>
            </p:custDataLst>
          </p:nvPr>
        </p:nvCxnSpPr>
        <p:spPr bwMode="gray">
          <a:xfrm flipV="1">
            <a:off x="8936342" y="3983735"/>
            <a:ext cx="570627" cy="182547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8" name="Прямая соединительная линия 987"/>
          <p:cNvCxnSpPr/>
          <p:nvPr>
            <p:custDataLst>
              <p:tags r:id="rId17"/>
            </p:custDataLst>
          </p:nvPr>
        </p:nvCxnSpPr>
        <p:spPr bwMode="auto">
          <a:xfrm flipV="1">
            <a:off x="7650404" y="3664614"/>
            <a:ext cx="570627" cy="216351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8" name="Прямая соединительная линия 977"/>
          <p:cNvCxnSpPr/>
          <p:nvPr>
            <p:custDataLst>
              <p:tags r:id="rId18"/>
            </p:custDataLst>
          </p:nvPr>
        </p:nvCxnSpPr>
        <p:spPr bwMode="gray">
          <a:xfrm flipV="1">
            <a:off x="7823483" y="3947223"/>
            <a:ext cx="397546" cy="136572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0" name="Прямая соединительная линия 989"/>
          <p:cNvCxnSpPr/>
          <p:nvPr>
            <p:custDataLst>
              <p:tags r:id="rId19"/>
            </p:custDataLst>
          </p:nvPr>
        </p:nvCxnSpPr>
        <p:spPr bwMode="gray">
          <a:xfrm flipV="1">
            <a:off x="8936342" y="5212881"/>
            <a:ext cx="570627" cy="62201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2" name="Прямая соединительная линия 991"/>
          <p:cNvCxnSpPr/>
          <p:nvPr>
            <p:custDataLst>
              <p:tags r:id="rId20"/>
            </p:custDataLst>
          </p:nvPr>
        </p:nvCxnSpPr>
        <p:spPr bwMode="gray">
          <a:xfrm flipV="1">
            <a:off x="8936342" y="3945872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3" name="Прямая соединительная линия 992"/>
          <p:cNvCxnSpPr/>
          <p:nvPr>
            <p:custDataLst>
              <p:tags r:id="rId21"/>
            </p:custDataLst>
          </p:nvPr>
        </p:nvCxnSpPr>
        <p:spPr bwMode="gray">
          <a:xfrm flipV="1">
            <a:off x="9122942" y="3748451"/>
            <a:ext cx="384024" cy="133868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4" name="Прямая соединительная линия 993"/>
          <p:cNvCxnSpPr/>
          <p:nvPr>
            <p:custDataLst>
              <p:tags r:id="rId22"/>
            </p:custDataLst>
          </p:nvPr>
        </p:nvCxnSpPr>
        <p:spPr bwMode="gray">
          <a:xfrm flipV="1">
            <a:off x="8936342" y="3925588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2" name="Прямая соединительная линия 981"/>
          <p:cNvCxnSpPr/>
          <p:nvPr>
            <p:custDataLst>
              <p:tags r:id="rId23"/>
            </p:custDataLst>
          </p:nvPr>
        </p:nvCxnSpPr>
        <p:spPr bwMode="gray">
          <a:xfrm flipV="1">
            <a:off x="7819425" y="3901247"/>
            <a:ext cx="401603" cy="140628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5" name="Прямая соединительная линия 994"/>
          <p:cNvCxnSpPr/>
          <p:nvPr>
            <p:custDataLst>
              <p:tags r:id="rId24"/>
            </p:custDataLst>
          </p:nvPr>
        </p:nvCxnSpPr>
        <p:spPr bwMode="gray">
          <a:xfrm flipV="1">
            <a:off x="9105365" y="3728166"/>
            <a:ext cx="401603" cy="140628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7" name="Прямая соединительная линия 976"/>
          <p:cNvCxnSpPr/>
          <p:nvPr>
            <p:custDataLst>
              <p:tags r:id="rId25"/>
            </p:custDataLst>
          </p:nvPr>
        </p:nvCxnSpPr>
        <p:spPr bwMode="gray">
          <a:xfrm flipV="1">
            <a:off x="7650405" y="4141940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8" name="Прямая соединительная линия 997"/>
          <p:cNvCxnSpPr/>
          <p:nvPr>
            <p:custDataLst>
              <p:tags r:id="rId26"/>
            </p:custDataLst>
          </p:nvPr>
        </p:nvCxnSpPr>
        <p:spPr bwMode="auto">
          <a:xfrm flipV="1">
            <a:off x="8936342" y="3828230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9" name="Прямая соединительная линия 998"/>
          <p:cNvCxnSpPr/>
          <p:nvPr>
            <p:custDataLst>
              <p:tags r:id="rId27"/>
            </p:custDataLst>
          </p:nvPr>
        </p:nvCxnSpPr>
        <p:spPr bwMode="auto">
          <a:xfrm flipV="1">
            <a:off x="9105365" y="3622697"/>
            <a:ext cx="401603" cy="14603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0" name="Прямая соединительная линия 999"/>
          <p:cNvCxnSpPr/>
          <p:nvPr>
            <p:custDataLst>
              <p:tags r:id="rId28"/>
            </p:custDataLst>
          </p:nvPr>
        </p:nvCxnSpPr>
        <p:spPr bwMode="auto">
          <a:xfrm flipV="1">
            <a:off x="8936342" y="3826878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6" name="Прямая соединительная линия 975"/>
          <p:cNvCxnSpPr/>
          <p:nvPr>
            <p:custDataLst>
              <p:tags r:id="rId29"/>
            </p:custDataLst>
          </p:nvPr>
        </p:nvCxnSpPr>
        <p:spPr bwMode="gray">
          <a:xfrm flipV="1">
            <a:off x="7650404" y="4166281"/>
            <a:ext cx="570627" cy="182547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2" name="Прямая соединительная линия 1001"/>
          <p:cNvCxnSpPr/>
          <p:nvPr>
            <p:custDataLst>
              <p:tags r:id="rId30"/>
            </p:custDataLst>
          </p:nvPr>
        </p:nvCxnSpPr>
        <p:spPr bwMode="auto">
          <a:xfrm flipV="1">
            <a:off x="8936342" y="3446910"/>
            <a:ext cx="570627" cy="21770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5" name="Прямая соединительная линия 974"/>
          <p:cNvCxnSpPr/>
          <p:nvPr>
            <p:custDataLst>
              <p:tags r:id="rId31"/>
            </p:custDataLst>
          </p:nvPr>
        </p:nvCxnSpPr>
        <p:spPr bwMode="gray">
          <a:xfrm flipV="1">
            <a:off x="7650404" y="5275082"/>
            <a:ext cx="570627" cy="62201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3" name="Прямая соединительная линия 1002"/>
          <p:cNvCxnSpPr/>
          <p:nvPr>
            <p:custDataLst>
              <p:tags r:id="rId32"/>
            </p:custDataLst>
          </p:nvPr>
        </p:nvCxnSpPr>
        <p:spPr bwMode="auto">
          <a:xfrm flipV="1">
            <a:off x="8936342" y="3198106"/>
            <a:ext cx="570627" cy="23393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4" name="Прямая соединительная линия 973"/>
          <p:cNvCxnSpPr/>
          <p:nvPr>
            <p:custDataLst>
              <p:tags r:id="rId33"/>
            </p:custDataLst>
          </p:nvPr>
        </p:nvCxnSpPr>
        <p:spPr bwMode="auto">
          <a:xfrm flipV="1">
            <a:off x="6363114" y="3664613"/>
            <a:ext cx="571979" cy="21770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3" name="Прямая соединительная линия 1062"/>
          <p:cNvCxnSpPr/>
          <p:nvPr>
            <p:custDataLst>
              <p:tags r:id="rId34"/>
            </p:custDataLst>
          </p:nvPr>
        </p:nvCxnSpPr>
        <p:spPr bwMode="auto">
          <a:xfrm flipV="1">
            <a:off x="6363114" y="3880969"/>
            <a:ext cx="571979" cy="209591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6" name="Прямая соединительная линия 1075"/>
          <p:cNvCxnSpPr/>
          <p:nvPr>
            <p:custDataLst>
              <p:tags r:id="rId35"/>
            </p:custDataLst>
          </p:nvPr>
        </p:nvCxnSpPr>
        <p:spPr bwMode="auto">
          <a:xfrm flipV="1">
            <a:off x="6532136" y="4033765"/>
            <a:ext cx="402954" cy="13386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9" name="Прямая соединительная линия 988"/>
          <p:cNvCxnSpPr/>
          <p:nvPr>
            <p:custDataLst>
              <p:tags r:id="rId36"/>
            </p:custDataLst>
          </p:nvPr>
        </p:nvCxnSpPr>
        <p:spPr bwMode="auto">
          <a:xfrm flipV="1">
            <a:off x="7650404" y="3432035"/>
            <a:ext cx="570627" cy="23257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2" name="Прямая соединительная линия 971"/>
          <p:cNvCxnSpPr/>
          <p:nvPr>
            <p:custDataLst>
              <p:tags r:id="rId37"/>
            </p:custDataLst>
          </p:nvPr>
        </p:nvCxnSpPr>
        <p:spPr bwMode="auto">
          <a:xfrm flipV="1">
            <a:off x="6363114" y="4223071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5" name="Прямая соединительная линия 1074"/>
          <p:cNvCxnSpPr/>
          <p:nvPr>
            <p:custDataLst>
              <p:tags r:id="rId38"/>
            </p:custDataLst>
          </p:nvPr>
        </p:nvCxnSpPr>
        <p:spPr bwMode="auto">
          <a:xfrm flipV="1">
            <a:off x="6532136" y="4033763"/>
            <a:ext cx="402954" cy="13522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1" name="Прямая соединительная линия 970"/>
          <p:cNvCxnSpPr/>
          <p:nvPr>
            <p:custDataLst>
              <p:tags r:id="rId39"/>
            </p:custDataLst>
          </p:nvPr>
        </p:nvCxnSpPr>
        <p:spPr bwMode="auto">
          <a:xfrm flipV="1">
            <a:off x="6363114" y="4224423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0" name="Прямая соединительная линия 969"/>
          <p:cNvCxnSpPr/>
          <p:nvPr>
            <p:custDataLst>
              <p:tags r:id="rId40"/>
            </p:custDataLst>
          </p:nvPr>
        </p:nvCxnSpPr>
        <p:spPr bwMode="gray">
          <a:xfrm flipV="1">
            <a:off x="6532136" y="4101373"/>
            <a:ext cx="402954" cy="120346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9" name="Прямая соединительная линия 968"/>
          <p:cNvCxnSpPr/>
          <p:nvPr>
            <p:custDataLst>
              <p:tags r:id="rId41"/>
            </p:custDataLst>
          </p:nvPr>
        </p:nvCxnSpPr>
        <p:spPr bwMode="gray">
          <a:xfrm flipV="1">
            <a:off x="6363114" y="4270399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8" name="Прямая соединительная линия 967"/>
          <p:cNvCxnSpPr/>
          <p:nvPr>
            <p:custDataLst>
              <p:tags r:id="rId42"/>
            </p:custDataLst>
          </p:nvPr>
        </p:nvCxnSpPr>
        <p:spPr bwMode="gray">
          <a:xfrm flipV="1">
            <a:off x="6532136" y="4125712"/>
            <a:ext cx="402954" cy="120346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7" name="Прямая соединительная линия 966"/>
          <p:cNvCxnSpPr/>
          <p:nvPr>
            <p:custDataLst>
              <p:tags r:id="rId43"/>
            </p:custDataLst>
          </p:nvPr>
        </p:nvCxnSpPr>
        <p:spPr bwMode="gray">
          <a:xfrm flipV="1">
            <a:off x="6363114" y="4294737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6" name="Прямая соединительная линия 965"/>
          <p:cNvCxnSpPr/>
          <p:nvPr>
            <p:custDataLst>
              <p:tags r:id="rId44"/>
            </p:custDataLst>
          </p:nvPr>
        </p:nvCxnSpPr>
        <p:spPr bwMode="gray">
          <a:xfrm flipV="1">
            <a:off x="6532136" y="4143290"/>
            <a:ext cx="402954" cy="120346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5" name="Прямая соединительная линия 964"/>
          <p:cNvCxnSpPr/>
          <p:nvPr>
            <p:custDataLst>
              <p:tags r:id="rId45"/>
            </p:custDataLst>
          </p:nvPr>
        </p:nvCxnSpPr>
        <p:spPr bwMode="gray">
          <a:xfrm flipV="1">
            <a:off x="6363114" y="4312316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4" name="Прямая соединительная линия 963"/>
          <p:cNvCxnSpPr/>
          <p:nvPr>
            <p:custDataLst>
              <p:tags r:id="rId46"/>
            </p:custDataLst>
          </p:nvPr>
        </p:nvCxnSpPr>
        <p:spPr bwMode="gray">
          <a:xfrm flipV="1">
            <a:off x="6363114" y="4348827"/>
            <a:ext cx="571979" cy="166321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2" name="Прямая соединительная линия 961"/>
          <p:cNvCxnSpPr/>
          <p:nvPr>
            <p:custDataLst>
              <p:tags r:id="rId47"/>
            </p:custDataLst>
          </p:nvPr>
        </p:nvCxnSpPr>
        <p:spPr bwMode="gray">
          <a:xfrm flipV="1">
            <a:off x="6363114" y="5337283"/>
            <a:ext cx="571979" cy="31101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1" name="Прямая соединительная линия 960"/>
          <p:cNvCxnSpPr/>
          <p:nvPr>
            <p:custDataLst>
              <p:tags r:id="rId48"/>
            </p:custDataLst>
          </p:nvPr>
        </p:nvCxnSpPr>
        <p:spPr bwMode="auto">
          <a:xfrm flipV="1">
            <a:off x="5077175" y="3882320"/>
            <a:ext cx="570627" cy="159559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2" name="Прямая соединительная линия 1061"/>
          <p:cNvCxnSpPr/>
          <p:nvPr>
            <p:custDataLst>
              <p:tags r:id="rId49"/>
            </p:custDataLst>
          </p:nvPr>
        </p:nvCxnSpPr>
        <p:spPr bwMode="auto">
          <a:xfrm flipV="1">
            <a:off x="5246198" y="4224421"/>
            <a:ext cx="401603" cy="108176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9" name="Прямая соединительная линия 958"/>
          <p:cNvCxnSpPr/>
          <p:nvPr>
            <p:custDataLst>
              <p:tags r:id="rId50"/>
            </p:custDataLst>
          </p:nvPr>
        </p:nvCxnSpPr>
        <p:spPr bwMode="auto">
          <a:xfrm flipV="1">
            <a:off x="5077175" y="4377223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1" name="Прямая соединительная линия 1000"/>
          <p:cNvCxnSpPr/>
          <p:nvPr>
            <p:custDataLst>
              <p:tags r:id="rId51"/>
            </p:custDataLst>
          </p:nvPr>
        </p:nvCxnSpPr>
        <p:spPr bwMode="auto">
          <a:xfrm flipV="1">
            <a:off x="9105365" y="3621343"/>
            <a:ext cx="401603" cy="14603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8" name="Прямая соединительная линия 957"/>
          <p:cNvCxnSpPr/>
          <p:nvPr>
            <p:custDataLst>
              <p:tags r:id="rId52"/>
            </p:custDataLst>
          </p:nvPr>
        </p:nvCxnSpPr>
        <p:spPr bwMode="auto">
          <a:xfrm flipV="1">
            <a:off x="5077175" y="4377223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7" name="Прямая соединительная линия 956"/>
          <p:cNvCxnSpPr/>
          <p:nvPr>
            <p:custDataLst>
              <p:tags r:id="rId53"/>
            </p:custDataLst>
          </p:nvPr>
        </p:nvCxnSpPr>
        <p:spPr bwMode="gray">
          <a:xfrm flipV="1">
            <a:off x="5246198" y="4271753"/>
            <a:ext cx="401603" cy="116289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8" name="Прямая соединительная линия 937"/>
          <p:cNvCxnSpPr/>
          <p:nvPr>
            <p:custDataLst>
              <p:tags r:id="rId54"/>
            </p:custDataLst>
          </p:nvPr>
        </p:nvCxnSpPr>
        <p:spPr bwMode="gray">
          <a:xfrm flipV="1">
            <a:off x="3960258" y="4478636"/>
            <a:ext cx="401603" cy="177138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6" name="Прямая соединительная линия 955"/>
          <p:cNvCxnSpPr/>
          <p:nvPr>
            <p:custDataLst>
              <p:tags r:id="rId55"/>
            </p:custDataLst>
          </p:nvPr>
        </p:nvCxnSpPr>
        <p:spPr bwMode="gray">
          <a:xfrm flipV="1">
            <a:off x="5077175" y="4435366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5" name="Прямая соединительная линия 954"/>
          <p:cNvCxnSpPr/>
          <p:nvPr>
            <p:custDataLst>
              <p:tags r:id="rId56"/>
            </p:custDataLst>
          </p:nvPr>
        </p:nvCxnSpPr>
        <p:spPr bwMode="gray">
          <a:xfrm flipV="1">
            <a:off x="5246198" y="4296092"/>
            <a:ext cx="401603" cy="116289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4" name="Прямая соединительная линия 953"/>
          <p:cNvCxnSpPr/>
          <p:nvPr>
            <p:custDataLst>
              <p:tags r:id="rId57"/>
            </p:custDataLst>
          </p:nvPr>
        </p:nvCxnSpPr>
        <p:spPr bwMode="gray">
          <a:xfrm flipV="1">
            <a:off x="5077175" y="4459705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4" name="Прямая соединительная линия 1073"/>
          <p:cNvCxnSpPr/>
          <p:nvPr>
            <p:custDataLst>
              <p:tags r:id="rId58"/>
            </p:custDataLst>
          </p:nvPr>
        </p:nvCxnSpPr>
        <p:spPr bwMode="auto">
          <a:xfrm flipV="1">
            <a:off x="3954851" y="4378575"/>
            <a:ext cx="407011" cy="185251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3" name="Прямая соединительная линия 952"/>
          <p:cNvCxnSpPr/>
          <p:nvPr>
            <p:custDataLst>
              <p:tags r:id="rId59"/>
            </p:custDataLst>
          </p:nvPr>
        </p:nvCxnSpPr>
        <p:spPr bwMode="gray">
          <a:xfrm flipV="1">
            <a:off x="5263774" y="4313669"/>
            <a:ext cx="384024" cy="11088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2" name="Прямая соединительная линия 951"/>
          <p:cNvCxnSpPr/>
          <p:nvPr>
            <p:custDataLst>
              <p:tags r:id="rId60"/>
            </p:custDataLst>
          </p:nvPr>
        </p:nvCxnSpPr>
        <p:spPr bwMode="gray">
          <a:xfrm flipV="1">
            <a:off x="5077175" y="4477284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1" name="Прямая соединительная линия 950"/>
          <p:cNvCxnSpPr/>
          <p:nvPr>
            <p:custDataLst>
              <p:tags r:id="rId61"/>
            </p:custDataLst>
          </p:nvPr>
        </p:nvCxnSpPr>
        <p:spPr bwMode="gray">
          <a:xfrm flipV="1">
            <a:off x="5077175" y="4515147"/>
            <a:ext cx="570627" cy="15685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6" name="Прямая соединительная линия 995"/>
          <p:cNvCxnSpPr/>
          <p:nvPr>
            <p:custDataLst>
              <p:tags r:id="rId62"/>
            </p:custDataLst>
          </p:nvPr>
        </p:nvCxnSpPr>
        <p:spPr bwMode="gray">
          <a:xfrm flipV="1">
            <a:off x="8936342" y="3899896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3" name="Прямая соединительная линия 1072"/>
          <p:cNvCxnSpPr/>
          <p:nvPr>
            <p:custDataLst>
              <p:tags r:id="rId63"/>
            </p:custDataLst>
          </p:nvPr>
        </p:nvCxnSpPr>
        <p:spPr bwMode="auto">
          <a:xfrm flipV="1">
            <a:off x="3954852" y="4378575"/>
            <a:ext cx="407011" cy="185251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0" name="Прямая соединительная линия 949"/>
          <p:cNvCxnSpPr/>
          <p:nvPr>
            <p:custDataLst>
              <p:tags r:id="rId64"/>
            </p:custDataLst>
          </p:nvPr>
        </p:nvCxnSpPr>
        <p:spPr bwMode="gray">
          <a:xfrm flipV="1">
            <a:off x="5077175" y="5368382"/>
            <a:ext cx="570627" cy="17579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9" name="Прямая соединительная линия 948"/>
          <p:cNvCxnSpPr/>
          <p:nvPr>
            <p:custDataLst>
              <p:tags r:id="rId65"/>
            </p:custDataLst>
          </p:nvPr>
        </p:nvCxnSpPr>
        <p:spPr bwMode="auto">
          <a:xfrm flipV="1">
            <a:off x="3791237" y="4041878"/>
            <a:ext cx="570627" cy="277201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8" name="Прямая соединительная линия 947"/>
          <p:cNvCxnSpPr/>
          <p:nvPr>
            <p:custDataLst>
              <p:tags r:id="rId66"/>
            </p:custDataLst>
          </p:nvPr>
        </p:nvCxnSpPr>
        <p:spPr bwMode="auto">
          <a:xfrm flipV="1">
            <a:off x="3791237" y="4246058"/>
            <a:ext cx="570627" cy="26638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6" name="Прямая соединительная линия 945"/>
          <p:cNvCxnSpPr/>
          <p:nvPr>
            <p:custDataLst>
              <p:tags r:id="rId67"/>
            </p:custDataLst>
          </p:nvPr>
        </p:nvCxnSpPr>
        <p:spPr bwMode="auto">
          <a:xfrm flipV="1">
            <a:off x="3791238" y="4636843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4" name="Прямая соединительная линия 943"/>
          <p:cNvCxnSpPr/>
          <p:nvPr>
            <p:custDataLst>
              <p:tags r:id="rId68"/>
            </p:custDataLst>
          </p:nvPr>
        </p:nvCxnSpPr>
        <p:spPr bwMode="auto">
          <a:xfrm flipV="1">
            <a:off x="3791238" y="4636843"/>
            <a:ext cx="4057" cy="135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2" name="Прямая соединительная линия 941"/>
          <p:cNvCxnSpPr/>
          <p:nvPr>
            <p:custDataLst>
              <p:tags r:id="rId69"/>
            </p:custDataLst>
          </p:nvPr>
        </p:nvCxnSpPr>
        <p:spPr bwMode="gray">
          <a:xfrm flipV="1">
            <a:off x="3960258" y="4436720"/>
            <a:ext cx="401603" cy="181194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1" name="Прямая соединительная линия 940"/>
          <p:cNvCxnSpPr/>
          <p:nvPr>
            <p:custDataLst>
              <p:tags r:id="rId70"/>
            </p:custDataLst>
          </p:nvPr>
        </p:nvCxnSpPr>
        <p:spPr bwMode="gray">
          <a:xfrm flipV="1">
            <a:off x="3791238" y="4692284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0" name="Прямая соединительная линия 939"/>
          <p:cNvCxnSpPr/>
          <p:nvPr>
            <p:custDataLst>
              <p:tags r:id="rId71"/>
            </p:custDataLst>
          </p:nvPr>
        </p:nvCxnSpPr>
        <p:spPr bwMode="gray">
          <a:xfrm flipV="1">
            <a:off x="3960258" y="4461058"/>
            <a:ext cx="401603" cy="177138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0" name="Прямая соединительная линия 959"/>
          <p:cNvCxnSpPr/>
          <p:nvPr>
            <p:custDataLst>
              <p:tags r:id="rId72"/>
            </p:custDataLst>
          </p:nvPr>
        </p:nvCxnSpPr>
        <p:spPr bwMode="auto">
          <a:xfrm flipV="1">
            <a:off x="5077175" y="4090559"/>
            <a:ext cx="570627" cy="15550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9" name="Прямая соединительная линия 938"/>
          <p:cNvCxnSpPr/>
          <p:nvPr>
            <p:custDataLst>
              <p:tags r:id="rId73"/>
            </p:custDataLst>
          </p:nvPr>
        </p:nvCxnSpPr>
        <p:spPr bwMode="gray">
          <a:xfrm flipV="1">
            <a:off x="3791238" y="4711214"/>
            <a:ext cx="4057" cy="135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1" name="Chart 3"/>
          <p:cNvGraphicFramePr/>
          <p:nvPr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1498502219"/>
              </p:ext>
            </p:extLst>
          </p:nvPr>
        </p:nvGraphicFramePr>
        <p:xfrm>
          <a:off x="2720295" y="3127793"/>
          <a:ext cx="7857610" cy="3111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0"/>
          </a:graphicData>
        </a:graphic>
      </p:graphicFrame>
      <p:sp useBgFill="1">
        <p:nvSpPr>
          <p:cNvPr id="7" name="Полилиния 6"/>
          <p:cNvSpPr/>
          <p:nvPr>
            <p:custDataLst>
              <p:tags r:id="rId75"/>
            </p:custDataLst>
          </p:nvPr>
        </p:nvSpPr>
        <p:spPr bwMode="auto">
          <a:xfrm>
            <a:off x="3042119" y="4931623"/>
            <a:ext cx="782922" cy="259622"/>
          </a:xfrm>
          <a:custGeom>
            <a:avLst/>
            <a:gdLst/>
            <a:ahLst/>
            <a:cxnLst/>
            <a:rect l="0" t="0" r="0" b="0"/>
            <a:pathLst>
              <a:path w="919163" h="304801">
                <a:moveTo>
                  <a:pt x="0" y="247650"/>
                </a:moveTo>
                <a:lnTo>
                  <a:pt x="919162" y="0"/>
                </a:lnTo>
                <a:lnTo>
                  <a:pt x="919162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0" name="Полилиния 9"/>
          <p:cNvSpPr/>
          <p:nvPr>
            <p:custDataLst>
              <p:tags r:id="rId76"/>
            </p:custDataLst>
          </p:nvPr>
        </p:nvSpPr>
        <p:spPr bwMode="auto">
          <a:xfrm>
            <a:off x="4328056" y="4931623"/>
            <a:ext cx="782923" cy="259622"/>
          </a:xfrm>
          <a:custGeom>
            <a:avLst/>
            <a:gdLst/>
            <a:ahLst/>
            <a:cxnLst/>
            <a:rect l="0" t="0" r="0" b="0"/>
            <a:pathLst>
              <a:path w="919164" h="304801">
                <a:moveTo>
                  <a:pt x="0" y="247650"/>
                </a:moveTo>
                <a:lnTo>
                  <a:pt x="919163" y="0"/>
                </a:lnTo>
                <a:lnTo>
                  <a:pt x="919163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4" name="Полилиния 13"/>
          <p:cNvSpPr/>
          <p:nvPr>
            <p:custDataLst>
              <p:tags r:id="rId77"/>
            </p:custDataLst>
          </p:nvPr>
        </p:nvSpPr>
        <p:spPr bwMode="auto">
          <a:xfrm>
            <a:off x="5613996" y="4931623"/>
            <a:ext cx="782922" cy="259622"/>
          </a:xfrm>
          <a:custGeom>
            <a:avLst/>
            <a:gdLst/>
            <a:ahLst/>
            <a:cxnLst/>
            <a:rect l="0" t="0" r="0" b="0"/>
            <a:pathLst>
              <a:path w="919163" h="304801">
                <a:moveTo>
                  <a:pt x="0" y="247650"/>
                </a:moveTo>
                <a:lnTo>
                  <a:pt x="919162" y="0"/>
                </a:lnTo>
                <a:lnTo>
                  <a:pt x="919162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7" name="Полилиния 16"/>
          <p:cNvSpPr/>
          <p:nvPr>
            <p:custDataLst>
              <p:tags r:id="rId78"/>
            </p:custDataLst>
          </p:nvPr>
        </p:nvSpPr>
        <p:spPr bwMode="auto">
          <a:xfrm>
            <a:off x="6901287" y="4931623"/>
            <a:ext cx="782922" cy="259622"/>
          </a:xfrm>
          <a:custGeom>
            <a:avLst/>
            <a:gdLst/>
            <a:ahLst/>
            <a:cxnLst/>
            <a:rect l="0" t="0" r="0" b="0"/>
            <a:pathLst>
              <a:path w="919163" h="304801">
                <a:moveTo>
                  <a:pt x="0" y="247650"/>
                </a:moveTo>
                <a:lnTo>
                  <a:pt x="919162" y="0"/>
                </a:lnTo>
                <a:lnTo>
                  <a:pt x="919162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23" name="Полилиния 22"/>
          <p:cNvSpPr/>
          <p:nvPr>
            <p:custDataLst>
              <p:tags r:id="rId79"/>
            </p:custDataLst>
          </p:nvPr>
        </p:nvSpPr>
        <p:spPr bwMode="auto">
          <a:xfrm>
            <a:off x="9473162" y="4931623"/>
            <a:ext cx="782922" cy="259622"/>
          </a:xfrm>
          <a:custGeom>
            <a:avLst/>
            <a:gdLst/>
            <a:ahLst/>
            <a:cxnLst/>
            <a:rect l="0" t="0" r="0" b="0"/>
            <a:pathLst>
              <a:path w="919163" h="304801">
                <a:moveTo>
                  <a:pt x="0" y="247650"/>
                </a:moveTo>
                <a:lnTo>
                  <a:pt x="919162" y="0"/>
                </a:lnTo>
                <a:lnTo>
                  <a:pt x="919162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20" name="Полилиния 19"/>
          <p:cNvSpPr/>
          <p:nvPr>
            <p:custDataLst>
              <p:tags r:id="rId80"/>
            </p:custDataLst>
          </p:nvPr>
        </p:nvSpPr>
        <p:spPr bwMode="auto">
          <a:xfrm>
            <a:off x="8187223" y="4931623"/>
            <a:ext cx="782923" cy="259622"/>
          </a:xfrm>
          <a:custGeom>
            <a:avLst/>
            <a:gdLst/>
            <a:ahLst/>
            <a:cxnLst/>
            <a:rect l="0" t="0" r="0" b="0"/>
            <a:pathLst>
              <a:path w="919164" h="304801">
                <a:moveTo>
                  <a:pt x="0" y="247650"/>
                </a:moveTo>
                <a:lnTo>
                  <a:pt x="919163" y="0"/>
                </a:lnTo>
                <a:lnTo>
                  <a:pt x="919163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8" name="Полилиния 7"/>
          <p:cNvSpPr/>
          <p:nvPr>
            <p:custDataLst>
              <p:tags r:id="rId81"/>
            </p:custDataLst>
          </p:nvPr>
        </p:nvSpPr>
        <p:spPr bwMode="auto">
          <a:xfrm>
            <a:off x="4328056" y="4931625"/>
            <a:ext cx="782923" cy="210943"/>
          </a:xfrm>
          <a:custGeom>
            <a:avLst/>
            <a:gdLst/>
            <a:ahLst/>
            <a:cxnLst/>
            <a:rect l="0" t="0" r="0" b="0"/>
            <a:pathLst>
              <a:path w="919164" h="247651">
                <a:moveTo>
                  <a:pt x="0" y="247650"/>
                </a:moveTo>
                <a:lnTo>
                  <a:pt x="9191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3" name="Полилиния 2"/>
          <p:cNvSpPr/>
          <p:nvPr>
            <p:custDataLst>
              <p:tags r:id="rId82"/>
            </p:custDataLst>
          </p:nvPr>
        </p:nvSpPr>
        <p:spPr bwMode="auto">
          <a:xfrm>
            <a:off x="3042119" y="4931625"/>
            <a:ext cx="782922" cy="210943"/>
          </a:xfrm>
          <a:custGeom>
            <a:avLst/>
            <a:gdLst/>
            <a:ahLst/>
            <a:cxnLst/>
            <a:rect l="0" t="0" r="0" b="0"/>
            <a:pathLst>
              <a:path w="919163" h="247651">
                <a:moveTo>
                  <a:pt x="0" y="247650"/>
                </a:moveTo>
                <a:lnTo>
                  <a:pt x="9191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2" name="Полилиния 11"/>
          <p:cNvSpPr/>
          <p:nvPr>
            <p:custDataLst>
              <p:tags r:id="rId83"/>
            </p:custDataLst>
          </p:nvPr>
        </p:nvSpPr>
        <p:spPr bwMode="auto">
          <a:xfrm>
            <a:off x="5613996" y="4931625"/>
            <a:ext cx="782922" cy="210943"/>
          </a:xfrm>
          <a:custGeom>
            <a:avLst/>
            <a:gdLst/>
            <a:ahLst/>
            <a:cxnLst/>
            <a:rect l="0" t="0" r="0" b="0"/>
            <a:pathLst>
              <a:path w="919163" h="247651">
                <a:moveTo>
                  <a:pt x="0" y="247650"/>
                </a:moveTo>
                <a:lnTo>
                  <a:pt x="9191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9" name="Полилиния 8"/>
          <p:cNvSpPr/>
          <p:nvPr>
            <p:custDataLst>
              <p:tags r:id="rId84"/>
            </p:custDataLst>
          </p:nvPr>
        </p:nvSpPr>
        <p:spPr bwMode="auto">
          <a:xfrm>
            <a:off x="4328056" y="4980304"/>
            <a:ext cx="782923" cy="210943"/>
          </a:xfrm>
          <a:custGeom>
            <a:avLst/>
            <a:gdLst/>
            <a:ahLst/>
            <a:cxnLst/>
            <a:rect l="0" t="0" r="0" b="0"/>
            <a:pathLst>
              <a:path w="919164" h="247651">
                <a:moveTo>
                  <a:pt x="0" y="247650"/>
                </a:moveTo>
                <a:lnTo>
                  <a:pt x="9191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4" name="Полилиния 3"/>
          <p:cNvSpPr/>
          <p:nvPr>
            <p:custDataLst>
              <p:tags r:id="rId85"/>
            </p:custDataLst>
          </p:nvPr>
        </p:nvSpPr>
        <p:spPr bwMode="auto">
          <a:xfrm>
            <a:off x="3042119" y="4980304"/>
            <a:ext cx="782922" cy="210943"/>
          </a:xfrm>
          <a:custGeom>
            <a:avLst/>
            <a:gdLst/>
            <a:ahLst/>
            <a:cxnLst/>
            <a:rect l="0" t="0" r="0" b="0"/>
            <a:pathLst>
              <a:path w="919163" h="247651">
                <a:moveTo>
                  <a:pt x="0" y="247650"/>
                </a:moveTo>
                <a:lnTo>
                  <a:pt x="9191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9" name="Полилиния 18"/>
          <p:cNvSpPr/>
          <p:nvPr>
            <p:custDataLst>
              <p:tags r:id="rId86"/>
            </p:custDataLst>
          </p:nvPr>
        </p:nvSpPr>
        <p:spPr bwMode="auto">
          <a:xfrm>
            <a:off x="8187223" y="4980304"/>
            <a:ext cx="782923" cy="210943"/>
          </a:xfrm>
          <a:custGeom>
            <a:avLst/>
            <a:gdLst/>
            <a:ahLst/>
            <a:cxnLst/>
            <a:rect l="0" t="0" r="0" b="0"/>
            <a:pathLst>
              <a:path w="919164" h="247651">
                <a:moveTo>
                  <a:pt x="0" y="247650"/>
                </a:moveTo>
                <a:lnTo>
                  <a:pt x="9191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5" name="Полилиния 14"/>
          <p:cNvSpPr/>
          <p:nvPr>
            <p:custDataLst>
              <p:tags r:id="rId87"/>
            </p:custDataLst>
          </p:nvPr>
        </p:nvSpPr>
        <p:spPr bwMode="auto">
          <a:xfrm>
            <a:off x="6901287" y="4931625"/>
            <a:ext cx="782922" cy="210943"/>
          </a:xfrm>
          <a:custGeom>
            <a:avLst/>
            <a:gdLst/>
            <a:ahLst/>
            <a:cxnLst/>
            <a:rect l="0" t="0" r="0" b="0"/>
            <a:pathLst>
              <a:path w="919163" h="247651">
                <a:moveTo>
                  <a:pt x="0" y="247650"/>
                </a:moveTo>
                <a:lnTo>
                  <a:pt x="9191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3" name="Полилиния 12"/>
          <p:cNvSpPr/>
          <p:nvPr>
            <p:custDataLst>
              <p:tags r:id="rId88"/>
            </p:custDataLst>
          </p:nvPr>
        </p:nvSpPr>
        <p:spPr bwMode="auto">
          <a:xfrm>
            <a:off x="5613996" y="4980304"/>
            <a:ext cx="782922" cy="210943"/>
          </a:xfrm>
          <a:custGeom>
            <a:avLst/>
            <a:gdLst/>
            <a:ahLst/>
            <a:cxnLst/>
            <a:rect l="0" t="0" r="0" b="0"/>
            <a:pathLst>
              <a:path w="919163" h="247651">
                <a:moveTo>
                  <a:pt x="0" y="247650"/>
                </a:moveTo>
                <a:lnTo>
                  <a:pt x="9191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6" name="Полилиния 15"/>
          <p:cNvSpPr/>
          <p:nvPr>
            <p:custDataLst>
              <p:tags r:id="rId89"/>
            </p:custDataLst>
          </p:nvPr>
        </p:nvSpPr>
        <p:spPr bwMode="auto">
          <a:xfrm>
            <a:off x="6901287" y="4980304"/>
            <a:ext cx="782922" cy="210943"/>
          </a:xfrm>
          <a:custGeom>
            <a:avLst/>
            <a:gdLst/>
            <a:ahLst/>
            <a:cxnLst/>
            <a:rect l="0" t="0" r="0" b="0"/>
            <a:pathLst>
              <a:path w="919163" h="247651">
                <a:moveTo>
                  <a:pt x="0" y="247650"/>
                </a:moveTo>
                <a:lnTo>
                  <a:pt x="9191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8" name="Полилиния 17"/>
          <p:cNvSpPr/>
          <p:nvPr>
            <p:custDataLst>
              <p:tags r:id="rId90"/>
            </p:custDataLst>
          </p:nvPr>
        </p:nvSpPr>
        <p:spPr bwMode="auto">
          <a:xfrm>
            <a:off x="8187223" y="4931625"/>
            <a:ext cx="782923" cy="210943"/>
          </a:xfrm>
          <a:custGeom>
            <a:avLst/>
            <a:gdLst/>
            <a:ahLst/>
            <a:cxnLst/>
            <a:rect l="0" t="0" r="0" b="0"/>
            <a:pathLst>
              <a:path w="919164" h="247651">
                <a:moveTo>
                  <a:pt x="0" y="247650"/>
                </a:moveTo>
                <a:lnTo>
                  <a:pt x="9191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21" name="Полилиния 20"/>
          <p:cNvSpPr/>
          <p:nvPr>
            <p:custDataLst>
              <p:tags r:id="rId91"/>
            </p:custDataLst>
          </p:nvPr>
        </p:nvSpPr>
        <p:spPr bwMode="auto">
          <a:xfrm>
            <a:off x="9473162" y="4931625"/>
            <a:ext cx="782922" cy="210943"/>
          </a:xfrm>
          <a:custGeom>
            <a:avLst/>
            <a:gdLst/>
            <a:ahLst/>
            <a:cxnLst/>
            <a:rect l="0" t="0" r="0" b="0"/>
            <a:pathLst>
              <a:path w="919163" h="247651">
                <a:moveTo>
                  <a:pt x="0" y="247650"/>
                </a:moveTo>
                <a:lnTo>
                  <a:pt x="9191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22" name="Полилиния 21"/>
          <p:cNvSpPr/>
          <p:nvPr>
            <p:custDataLst>
              <p:tags r:id="rId92"/>
            </p:custDataLst>
          </p:nvPr>
        </p:nvSpPr>
        <p:spPr bwMode="auto">
          <a:xfrm>
            <a:off x="9473162" y="4980304"/>
            <a:ext cx="782922" cy="210943"/>
          </a:xfrm>
          <a:custGeom>
            <a:avLst/>
            <a:gdLst/>
            <a:ahLst/>
            <a:cxnLst/>
            <a:rect l="0" t="0" r="0" b="0"/>
            <a:pathLst>
              <a:path w="919163" h="247651">
                <a:moveTo>
                  <a:pt x="0" y="247650"/>
                </a:moveTo>
                <a:lnTo>
                  <a:pt x="9191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cxnSp>
        <p:nvCxnSpPr>
          <p:cNvPr id="238" name="Прямая соединительная линия 237">
            <a:extLst>
              <a:ext uri="{FF2B5EF4-FFF2-40B4-BE49-F238E27FC236}">
                <a16:creationId xmlns:a16="http://schemas.microsoft.com/office/drawing/2014/main" xmlns="" id="{9C017D0F-EAC8-40FF-B013-108137C12002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4686388" y="3741691"/>
            <a:ext cx="0" cy="129811"/>
          </a:xfrm>
          <a:prstGeom prst="line">
            <a:avLst/>
          </a:prstGeom>
          <a:solidFill>
            <a:srgbClr val="AE2C25"/>
          </a:solidFill>
          <a:ln w="12700" cap="flat" cmpd="sng" algn="ctr">
            <a:solidFill>
              <a:srgbClr val="45AF85"/>
            </a:solidFill>
            <a:prstDash val="solid"/>
            <a:miter lim="800000"/>
            <a:headEnd type="none" w="med" len="med"/>
            <a:tailEnd type="triangle" w="med" len="med"/>
          </a:ln>
        </p:spPr>
      </p:cxnSp>
      <p:cxnSp>
        <p:nvCxnSpPr>
          <p:cNvPr id="237" name="Прямая соединительная линия 236">
            <a:extLst>
              <a:ext uri="{FF2B5EF4-FFF2-40B4-BE49-F238E27FC236}">
                <a16:creationId xmlns:a16="http://schemas.microsoft.com/office/drawing/2014/main" xmlns="" id="{B4633A26-2D68-491F-B7BC-05CACF0BD00A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 flipV="1">
            <a:off x="3432902" y="3741691"/>
            <a:ext cx="0" cy="407011"/>
          </a:xfrm>
          <a:prstGeom prst="line">
            <a:avLst/>
          </a:prstGeom>
          <a:solidFill>
            <a:srgbClr val="AE2C25"/>
          </a:solidFill>
          <a:ln w="12700" cap="flat" cmpd="sng" algn="ctr">
            <a:solidFill>
              <a:srgbClr val="45AF85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236" name="Прямая соединительная линия 235">
            <a:extLst>
              <a:ext uri="{FF2B5EF4-FFF2-40B4-BE49-F238E27FC236}">
                <a16:creationId xmlns:a16="http://schemas.microsoft.com/office/drawing/2014/main" xmlns="" id="{35082A3C-D3AA-42C6-AD99-E4178675EE41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3432903" y="3741689"/>
            <a:ext cx="1253486" cy="0"/>
          </a:xfrm>
          <a:prstGeom prst="line">
            <a:avLst/>
          </a:prstGeom>
          <a:solidFill>
            <a:srgbClr val="AE2C25"/>
          </a:solidFill>
          <a:ln w="12700" cap="flat" cmpd="sng" algn="ctr">
            <a:solidFill>
              <a:srgbClr val="45AF85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241" name="Прямая соединительная линия 240">
            <a:extLst>
              <a:ext uri="{FF2B5EF4-FFF2-40B4-BE49-F238E27FC236}">
                <a16:creationId xmlns:a16="http://schemas.microsoft.com/office/drawing/2014/main" xmlns="" id="{75009DAB-736C-4699-8D4A-5DDFF99A0D8E}"/>
              </a:ext>
            </a:extLst>
          </p:cNvPr>
          <p:cNvCxnSpPr/>
          <p:nvPr>
            <p:custDataLst>
              <p:tags r:id="rId96"/>
            </p:custDataLst>
          </p:nvPr>
        </p:nvCxnSpPr>
        <p:spPr bwMode="gray">
          <a:xfrm>
            <a:off x="4751297" y="3582130"/>
            <a:ext cx="1221033" cy="0"/>
          </a:xfrm>
          <a:prstGeom prst="line">
            <a:avLst/>
          </a:prstGeom>
          <a:solidFill>
            <a:srgbClr val="AE2C25"/>
          </a:solidFill>
          <a:ln w="12700" cap="flat" cmpd="sng" algn="ctr">
            <a:solidFill>
              <a:srgbClr val="45AF85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240" name="Прямая соединительная линия 239">
            <a:extLst>
              <a:ext uri="{FF2B5EF4-FFF2-40B4-BE49-F238E27FC236}">
                <a16:creationId xmlns:a16="http://schemas.microsoft.com/office/drawing/2014/main" xmlns="" id="{C55C238B-3E5D-453E-8D7E-E960249111FD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5972326" y="3582131"/>
            <a:ext cx="0" cy="129811"/>
          </a:xfrm>
          <a:prstGeom prst="line">
            <a:avLst/>
          </a:prstGeom>
          <a:solidFill>
            <a:srgbClr val="AE2C25"/>
          </a:solidFill>
          <a:ln w="12700" cap="flat" cmpd="sng" algn="ctr">
            <a:solidFill>
              <a:srgbClr val="45AF85"/>
            </a:solidFill>
            <a:prstDash val="solid"/>
            <a:miter lim="800000"/>
            <a:headEnd type="none" w="med" len="med"/>
            <a:tailEnd type="triangle" w="med" len="med"/>
          </a:ln>
        </p:spPr>
      </p:cxnSp>
      <p:cxnSp>
        <p:nvCxnSpPr>
          <p:cNvPr id="239" name="Прямая соединительная линия 238">
            <a:extLst>
              <a:ext uri="{FF2B5EF4-FFF2-40B4-BE49-F238E27FC236}">
                <a16:creationId xmlns:a16="http://schemas.microsoft.com/office/drawing/2014/main" xmlns="" id="{38CE8A51-8E59-4453-9681-9BEC940C98B3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 flipV="1">
            <a:off x="4751293" y="3582132"/>
            <a:ext cx="0" cy="289370"/>
          </a:xfrm>
          <a:prstGeom prst="line">
            <a:avLst/>
          </a:prstGeom>
          <a:solidFill>
            <a:srgbClr val="AE2C25"/>
          </a:solidFill>
          <a:ln w="12700" cap="flat" cmpd="sng" algn="ctr">
            <a:solidFill>
              <a:srgbClr val="45AF85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244" name="Прямая соединительная линия 243"/>
          <p:cNvCxnSpPr/>
          <p:nvPr>
            <p:custDataLst>
              <p:tags r:id="rId99"/>
            </p:custDataLst>
          </p:nvPr>
        </p:nvCxnSpPr>
        <p:spPr bwMode="gray">
          <a:xfrm>
            <a:off x="7259616" y="3364427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Прямая соединительная линия 241"/>
          <p:cNvCxnSpPr/>
          <p:nvPr>
            <p:custDataLst>
              <p:tags r:id="rId100"/>
            </p:custDataLst>
          </p:nvPr>
        </p:nvCxnSpPr>
        <p:spPr bwMode="gray">
          <a:xfrm>
            <a:off x="6037232" y="3364426"/>
            <a:ext cx="1222385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Прямая соединительная линия 242"/>
          <p:cNvCxnSpPr/>
          <p:nvPr>
            <p:custDataLst>
              <p:tags r:id="rId101"/>
            </p:custDataLst>
          </p:nvPr>
        </p:nvCxnSpPr>
        <p:spPr bwMode="gray">
          <a:xfrm flipV="1">
            <a:off x="6037231" y="3364427"/>
            <a:ext cx="0" cy="347515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Прямая соединительная линия 244"/>
          <p:cNvCxnSpPr/>
          <p:nvPr>
            <p:custDataLst>
              <p:tags r:id="rId102"/>
            </p:custDataLst>
          </p:nvPr>
        </p:nvCxnSpPr>
        <p:spPr bwMode="gray">
          <a:xfrm flipV="1">
            <a:off x="7324522" y="3131848"/>
            <a:ext cx="0" cy="362388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7" name="Прямая соединительная линия 246"/>
          <p:cNvCxnSpPr/>
          <p:nvPr>
            <p:custDataLst>
              <p:tags r:id="rId103"/>
            </p:custDataLst>
          </p:nvPr>
        </p:nvCxnSpPr>
        <p:spPr bwMode="gray">
          <a:xfrm>
            <a:off x="8545555" y="3131850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Прямая соединительная линия 245"/>
          <p:cNvCxnSpPr/>
          <p:nvPr>
            <p:custDataLst>
              <p:tags r:id="rId104"/>
            </p:custDataLst>
          </p:nvPr>
        </p:nvCxnSpPr>
        <p:spPr bwMode="gray">
          <a:xfrm>
            <a:off x="7324525" y="3131848"/>
            <a:ext cx="1221033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9" name="Прямая соединительная линия 248"/>
          <p:cNvCxnSpPr/>
          <p:nvPr>
            <p:custDataLst>
              <p:tags r:id="rId105"/>
            </p:custDataLst>
          </p:nvPr>
        </p:nvCxnSpPr>
        <p:spPr bwMode="gray">
          <a:xfrm flipV="1">
            <a:off x="8610460" y="2897920"/>
            <a:ext cx="0" cy="36374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Прямая соединительная линия 249"/>
          <p:cNvCxnSpPr/>
          <p:nvPr>
            <p:custDataLst>
              <p:tags r:id="rId106"/>
            </p:custDataLst>
          </p:nvPr>
        </p:nvCxnSpPr>
        <p:spPr bwMode="gray">
          <a:xfrm>
            <a:off x="8610462" y="2931781"/>
            <a:ext cx="1253486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Прямая соединительная линия 247"/>
          <p:cNvCxnSpPr/>
          <p:nvPr>
            <p:custDataLst>
              <p:tags r:id="rId107"/>
            </p:custDataLst>
          </p:nvPr>
        </p:nvCxnSpPr>
        <p:spPr bwMode="gray">
          <a:xfrm>
            <a:off x="9863945" y="2897919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8" name="Прямая соединительная линия 777"/>
          <p:cNvCxnSpPr/>
          <p:nvPr>
            <p:custDataLst>
              <p:tags r:id="rId108"/>
            </p:custDataLst>
          </p:nvPr>
        </p:nvCxnSpPr>
        <p:spPr bwMode="auto">
          <a:xfrm flipH="1" flipV="1">
            <a:off x="7585496" y="4133829"/>
            <a:ext cx="77076" cy="8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3" name="Прямая соединительная линия 812"/>
          <p:cNvCxnSpPr/>
          <p:nvPr>
            <p:custDataLst>
              <p:tags r:id="rId109"/>
            </p:custDataLst>
          </p:nvPr>
        </p:nvCxnSpPr>
        <p:spPr bwMode="auto">
          <a:xfrm flipH="1">
            <a:off x="10157372" y="3621343"/>
            <a:ext cx="77076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1" name="Прямая соединительная линия 740"/>
          <p:cNvCxnSpPr/>
          <p:nvPr>
            <p:custDataLst>
              <p:tags r:id="rId110"/>
            </p:custDataLst>
          </p:nvPr>
        </p:nvCxnSpPr>
        <p:spPr bwMode="auto">
          <a:xfrm flipH="1">
            <a:off x="3726329" y="4621968"/>
            <a:ext cx="77076" cy="16226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3" name="Прямая соединительная линия 782"/>
          <p:cNvCxnSpPr/>
          <p:nvPr>
            <p:custDataLst>
              <p:tags r:id="rId111"/>
            </p:custDataLst>
          </p:nvPr>
        </p:nvCxnSpPr>
        <p:spPr bwMode="auto">
          <a:xfrm flipH="1">
            <a:off x="7585496" y="4025653"/>
            <a:ext cx="77076" cy="8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8" name="Прямая соединительная линия 737"/>
          <p:cNvCxnSpPr/>
          <p:nvPr>
            <p:custDataLst>
              <p:tags r:id="rId112"/>
            </p:custDataLst>
          </p:nvPr>
        </p:nvCxnSpPr>
        <p:spPr bwMode="auto">
          <a:xfrm flipH="1" flipV="1">
            <a:off x="3726329" y="4720680"/>
            <a:ext cx="77076" cy="17579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8" name="Прямая соединительная линия 767"/>
          <p:cNvCxnSpPr/>
          <p:nvPr>
            <p:custDataLst>
              <p:tags r:id="rId113"/>
            </p:custDataLst>
          </p:nvPr>
        </p:nvCxnSpPr>
        <p:spPr bwMode="auto">
          <a:xfrm flipH="1">
            <a:off x="6298205" y="4206845"/>
            <a:ext cx="77076" cy="17579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8" name="Прямая соединительная линия 797"/>
          <p:cNvCxnSpPr/>
          <p:nvPr>
            <p:custDataLst>
              <p:tags r:id="rId114"/>
            </p:custDataLst>
          </p:nvPr>
        </p:nvCxnSpPr>
        <p:spPr bwMode="auto">
          <a:xfrm flipH="1">
            <a:off x="8871433" y="3824176"/>
            <a:ext cx="77076" cy="405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3" name="Прямая соединительная линия 792"/>
          <p:cNvCxnSpPr/>
          <p:nvPr>
            <p:custDataLst>
              <p:tags r:id="rId115"/>
            </p:custDataLst>
          </p:nvPr>
        </p:nvCxnSpPr>
        <p:spPr bwMode="auto">
          <a:xfrm flipH="1" flipV="1">
            <a:off x="8871433" y="3936408"/>
            <a:ext cx="77076" cy="405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4" name="Прямая соединительная линия 763"/>
          <p:cNvCxnSpPr/>
          <p:nvPr>
            <p:custDataLst>
              <p:tags r:id="rId116"/>
            </p:custDataLst>
          </p:nvPr>
        </p:nvCxnSpPr>
        <p:spPr bwMode="auto">
          <a:xfrm flipH="1" flipV="1">
            <a:off x="6298205" y="4304205"/>
            <a:ext cx="77076" cy="18931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0" name="Прямая соединительная линия 749"/>
          <p:cNvCxnSpPr/>
          <p:nvPr>
            <p:custDataLst>
              <p:tags r:id="rId117"/>
            </p:custDataLst>
          </p:nvPr>
        </p:nvCxnSpPr>
        <p:spPr bwMode="auto">
          <a:xfrm flipH="1" flipV="1">
            <a:off x="5012267" y="4469171"/>
            <a:ext cx="77076" cy="1352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5" name="Прямая соединительная линия 754"/>
          <p:cNvCxnSpPr/>
          <p:nvPr>
            <p:custDataLst>
              <p:tags r:id="rId118"/>
            </p:custDataLst>
          </p:nvPr>
        </p:nvCxnSpPr>
        <p:spPr bwMode="auto">
          <a:xfrm flipH="1">
            <a:off x="5012267" y="4366403"/>
            <a:ext cx="77076" cy="1217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8" name="Прямая соединительная линия 807"/>
          <p:cNvCxnSpPr/>
          <p:nvPr>
            <p:custDataLst>
              <p:tags r:id="rId119"/>
            </p:custDataLst>
          </p:nvPr>
        </p:nvCxnSpPr>
        <p:spPr bwMode="auto">
          <a:xfrm flipH="1">
            <a:off x="10157372" y="3737632"/>
            <a:ext cx="77076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6" name="Текст 2"/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8948510" y="3766032"/>
            <a:ext cx="148742" cy="116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9C8937-B3ED-4DCF-80D0-416CF61899E1}" type="datetime'''''''1'''''''''''''''''''''''''''''''''',''''''''''''4'''''">
              <a:rPr lang="ru-RU" altLang="en-US" sz="767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4</a:t>
            </a:fld>
            <a:endParaRPr lang="ru-RU" sz="767" dirty="0">
              <a:sym typeface="+mn-lt"/>
            </a:endParaRPr>
          </a:p>
        </p:txBody>
      </p:sp>
      <p:sp>
        <p:nvSpPr>
          <p:cNvPr id="516" name="Текст 2"/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8659142" y="3806597"/>
            <a:ext cx="197421" cy="1162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2A4458-A750-4602-8092-F3B6C7A7DCD6}" type="datetime'''''''''87'',''''''''''''''''9'''''''''''''">
              <a:rPr lang="ru-RU" altLang="en-US" sz="7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,9</a:t>
            </a:fld>
            <a:endParaRPr lang="ru-RU" sz="767" dirty="0">
              <a:sym typeface="+mn-lt"/>
            </a:endParaRPr>
          </a:p>
        </p:txBody>
      </p:sp>
      <p:sp>
        <p:nvSpPr>
          <p:cNvPr id="535" name="Текст 2"/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7662572" y="3967508"/>
            <a:ext cx="148742" cy="116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FF7F9D-7D40-4EE6-B8D8-AE9DAB9B1541}" type="datetime'''''''''''''''1'',''''''''''''''''''''''''''''3'''''''''">
              <a:rPr lang="ru-RU" altLang="en-US" sz="767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3</a:t>
            </a:fld>
            <a:endParaRPr lang="ru-RU" sz="767" dirty="0">
              <a:sym typeface="+mn-lt"/>
            </a:endParaRPr>
          </a:p>
        </p:txBody>
      </p:sp>
      <p:sp>
        <p:nvSpPr>
          <p:cNvPr id="258" name="Текст 2"/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7373204" y="4009427"/>
            <a:ext cx="197421" cy="11628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AD91A5-94F3-421B-8B8F-1E36027E4882}" type="datetime'''''''''''''''''''''''''8''''1'',8'''''''''''''''''''''">
              <a:rPr lang="ru-RU" altLang="en-US" sz="767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1,8</a:t>
            </a:fld>
            <a:endParaRPr lang="ru-RU" sz="767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48" name="Текст 2"/>
          <p:cNvSpPr>
            <a:spLocks noGrp="1"/>
          </p:cNvSpPr>
          <p:nvPr>
            <p:custDataLst>
              <p:tags r:id="rId124"/>
            </p:custDataLst>
          </p:nvPr>
        </p:nvSpPr>
        <p:spPr bwMode="gray">
          <a:xfrm>
            <a:off x="7014872" y="4055401"/>
            <a:ext cx="197421" cy="116289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D94A4C-F9F3-46BA-99B2-168656585BA3}" type="datetime'''3''''0'''''''''''''''''''''''''''''''''',''''''''4'">
              <a:rPr lang="ru-RU" altLang="en-US" sz="767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,4</a:t>
            </a:fld>
            <a:endParaRPr lang="ru-RU" sz="767" dirty="0">
              <a:sym typeface="+mn-lt"/>
            </a:endParaRPr>
          </a:p>
        </p:txBody>
      </p:sp>
      <p:sp>
        <p:nvSpPr>
          <p:cNvPr id="254" name="Текст 2">
            <a:extLst>
              <a:ext uri="{FF2B5EF4-FFF2-40B4-BE49-F238E27FC236}">
                <a16:creationId xmlns:a16="http://schemas.microsoft.com/office/drawing/2014/main" xmlns="" id="{9CEFB45C-0CAD-4BC1-B109-D217E361DF30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gray">
          <a:xfrm>
            <a:off x="7133864" y="3526692"/>
            <a:ext cx="317766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F611EB6-52B5-4AF9-87F8-86D604A61A90}" type="datetime'''''3'''''''' ''''''''''8''''''''1''''''''''9,1'''''''''''''''">
              <a:rPr lang="ru-RU" altLang="en-US" sz="767" b="1"/>
              <a:pPr/>
              <a:t>3 819,1</a:t>
            </a:fld>
            <a:endParaRPr lang="ru-RU" sz="767" b="1" dirty="0">
              <a:sym typeface="+mn-lt"/>
            </a:endParaRPr>
          </a:p>
        </p:txBody>
      </p:sp>
      <p:sp>
        <p:nvSpPr>
          <p:cNvPr id="278" name="Текст 2"/>
          <p:cNvSpPr>
            <a:spLocks noGrp="1"/>
          </p:cNvSpPr>
          <p:nvPr>
            <p:custDataLst>
              <p:tags r:id="rId126"/>
            </p:custDataLst>
          </p:nvPr>
        </p:nvSpPr>
        <p:spPr bwMode="gray">
          <a:xfrm>
            <a:off x="7133864" y="4784235"/>
            <a:ext cx="316414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A0C136A-C090-4D01-88BD-F8269D199EFB}" type="datetime'1 ''9''''''''5''''''''''''''''8'''''''''',''1'">
              <a:rPr lang="ru-RU" altLang="en-US" sz="767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 958,1</a:t>
            </a:fld>
            <a:endParaRPr lang="ru-RU" sz="76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67" name="Текст 2">
            <a:extLst>
              <a:ext uri="{FF2B5EF4-FFF2-40B4-BE49-F238E27FC236}">
                <a16:creationId xmlns:a16="http://schemas.microsoft.com/office/drawing/2014/main" xmlns="" id="{A4251AA6-ACE3-48B0-BD1C-63B89B11AAD6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5902011" y="6201336"/>
            <a:ext cx="205534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BBB891-5DEA-4C6B-8BDE-15347FDE6E93}" type="datetime'''''''''''''''''''''2''''''''''''''''0''''''2''0'''''''''">
              <a:rPr lang="ru-RU" altLang="en-US" sz="767"/>
              <a:pPr/>
              <a:t>2020</a:t>
            </a:fld>
            <a:endParaRPr lang="ru-RU" sz="767" dirty="0">
              <a:sym typeface="+mn-lt"/>
            </a:endParaRPr>
          </a:p>
        </p:txBody>
      </p:sp>
      <p:sp>
        <p:nvSpPr>
          <p:cNvPr id="264" name="Текст 2"/>
          <p:cNvSpPr>
            <a:spLocks noGrp="1"/>
          </p:cNvSpPr>
          <p:nvPr>
            <p:custDataLst>
              <p:tags r:id="rId128"/>
            </p:custDataLst>
          </p:nvPr>
        </p:nvSpPr>
        <p:spPr bwMode="gray">
          <a:xfrm>
            <a:off x="6085913" y="4190621"/>
            <a:ext cx="197421" cy="11628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A21372-60F1-4514-815F-9032C8A922B1}" type="datetime'''5''''''6'',''''''''''''''''''4'''''''''">
              <a:rPr lang="ru-RU" altLang="en-US" sz="767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6,4</a:t>
            </a:fld>
            <a:endParaRPr lang="ru-RU" sz="767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71" name="Текст 2"/>
          <p:cNvSpPr>
            <a:spLocks noGrp="1"/>
          </p:cNvSpPr>
          <p:nvPr>
            <p:custDataLst>
              <p:tags r:id="rId129"/>
            </p:custDataLst>
          </p:nvPr>
        </p:nvSpPr>
        <p:spPr bwMode="gray">
          <a:xfrm>
            <a:off x="5727582" y="4225778"/>
            <a:ext cx="197421" cy="116289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BC9597-B8E9-4170-A8A9-FDEDFA5752CF}" type="datetime'''''''''''''''''''''''''2''''''''''9'',''0'''''''''">
              <a:rPr lang="ru-RU" altLang="en-US" sz="767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,0</a:t>
            </a:fld>
            <a:endParaRPr lang="ru-RU" sz="767" dirty="0">
              <a:sym typeface="+mn-lt"/>
            </a:endParaRPr>
          </a:p>
        </p:txBody>
      </p:sp>
      <p:sp>
        <p:nvSpPr>
          <p:cNvPr id="279" name="Текст 2">
            <a:extLst>
              <a:ext uri="{FF2B5EF4-FFF2-40B4-BE49-F238E27FC236}">
                <a16:creationId xmlns:a16="http://schemas.microsoft.com/office/drawing/2014/main" xmlns="" id="{A4251AA6-ACE3-48B0-BD1C-63B89B11AAD6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8434675" y="6201336"/>
            <a:ext cx="288018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A3EB562-14E3-4CA7-B501-4667C48FAE84}" type="datetime'2''''''''''''''''''''''02''2 ''''''''''''''''''''''''''П'''''">
              <a:rPr lang="ru-RU" altLang="en-US" sz="767"/>
              <a:pPr/>
              <a:t>2022 П</a:t>
            </a:fld>
            <a:endParaRPr lang="ru-RU" sz="767" dirty="0">
              <a:sym typeface="+mn-lt"/>
            </a:endParaRPr>
          </a:p>
        </p:txBody>
      </p:sp>
      <p:sp>
        <p:nvSpPr>
          <p:cNvPr id="252" name="Текст 2"/>
          <p:cNvSpPr>
            <a:spLocks noGrp="1"/>
          </p:cNvSpPr>
          <p:nvPr>
            <p:custDataLst>
              <p:tags r:id="rId131"/>
            </p:custDataLst>
          </p:nvPr>
        </p:nvSpPr>
        <p:spPr bwMode="gray">
          <a:xfrm>
            <a:off x="5846573" y="4826153"/>
            <a:ext cx="316414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05E9BC0-F475-4ABD-98E1-9C219689DCC5}" type="datetime'''''1'''''''''''''''''''' ''''79''''''''''0,''''''''''7'''''''">
              <a:rPr lang="ru-RU" altLang="en-US" sz="767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 790,7</a:t>
            </a:fld>
            <a:endParaRPr lang="ru-RU" sz="76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50" name="Текст 2"/>
          <p:cNvSpPr>
            <a:spLocks noGrp="1"/>
          </p:cNvSpPr>
          <p:nvPr>
            <p:custDataLst>
              <p:tags r:id="rId132"/>
            </p:custDataLst>
          </p:nvPr>
        </p:nvSpPr>
        <p:spPr bwMode="gray">
          <a:xfrm>
            <a:off x="9586749" y="3655151"/>
            <a:ext cx="197421" cy="116289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0CA163-7DBA-4E48-9D95-AB023762F90C}" type="datetime'''''''3''5'''''''''''''',''''0'''''">
              <a:rPr lang="ru-RU" altLang="en-US" sz="767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,0</a:t>
            </a:fld>
            <a:endParaRPr lang="ru-RU" sz="767" dirty="0">
              <a:sym typeface="+mn-lt"/>
            </a:endParaRPr>
          </a:p>
        </p:txBody>
      </p:sp>
      <p:sp>
        <p:nvSpPr>
          <p:cNvPr id="257" name="Текст 2">
            <a:extLst>
              <a:ext uri="{FF2B5EF4-FFF2-40B4-BE49-F238E27FC236}">
                <a16:creationId xmlns:a16="http://schemas.microsoft.com/office/drawing/2014/main" xmlns="" id="{E67DF3A5-695A-4E3F-B6A1-F438C92C55BA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4616074" y="6201336"/>
            <a:ext cx="205534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718F83-D78D-4317-876B-EF84915589AC}" type="datetime'2''0''''''''''''''1''''''9'''''''''''''''''''''''''''">
              <a:rPr lang="ru-RU" altLang="en-US" sz="767"/>
              <a:pPr/>
              <a:t>2019</a:t>
            </a:fld>
            <a:endParaRPr lang="ru-RU" sz="767" dirty="0">
              <a:sym typeface="+mn-lt"/>
            </a:endParaRPr>
          </a:p>
        </p:txBody>
      </p:sp>
      <p:sp>
        <p:nvSpPr>
          <p:cNvPr id="534" name="Текст 2"/>
          <p:cNvSpPr>
            <a:spLocks noGrp="1"/>
          </p:cNvSpPr>
          <p:nvPr>
            <p:custDataLst>
              <p:tags r:id="rId134"/>
            </p:custDataLst>
          </p:nvPr>
        </p:nvSpPr>
        <p:spPr bwMode="gray">
          <a:xfrm>
            <a:off x="6375281" y="4148703"/>
            <a:ext cx="148742" cy="116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C50E59-D3E8-4651-8872-4F9778D1CD70}" type="datetime'''''''''''''''''1'''',''''''''''''''''2'''''">
              <a:rPr lang="ru-RU" altLang="en-US" sz="767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2</a:t>
            </a:fld>
            <a:endParaRPr lang="ru-RU" sz="767" dirty="0">
              <a:sym typeface="+mn-lt"/>
            </a:endParaRPr>
          </a:p>
        </p:txBody>
      </p:sp>
      <p:sp>
        <p:nvSpPr>
          <p:cNvPr id="549" name="Текст 2"/>
          <p:cNvSpPr>
            <a:spLocks noGrp="1"/>
          </p:cNvSpPr>
          <p:nvPr>
            <p:custDataLst>
              <p:tags r:id="rId135"/>
            </p:custDataLst>
          </p:nvPr>
        </p:nvSpPr>
        <p:spPr bwMode="gray">
          <a:xfrm>
            <a:off x="8300810" y="3855276"/>
            <a:ext cx="197421" cy="116289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5AA024-2382-48B6-A2B8-3D87974D3CD6}" type="datetime'3''2'',''''''''''''''''''''''''''''''7'''''''''''''''''''''''">
              <a:rPr lang="ru-RU" altLang="en-US" sz="767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,7</a:t>
            </a:fld>
            <a:endParaRPr lang="ru-RU" sz="767" dirty="0">
              <a:sym typeface="+mn-lt"/>
            </a:endParaRPr>
          </a:p>
        </p:txBody>
      </p:sp>
      <p:sp>
        <p:nvSpPr>
          <p:cNvPr id="537" name="Текст 2"/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10234448" y="3563202"/>
            <a:ext cx="148742" cy="116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6118A6E-8816-4E9C-A89E-4EDD309A2CC7}" type="datetime'''''''1'''''''''''''''''''''''''''''',''''''''''''''''''''4'''">
              <a:rPr lang="ru-RU" altLang="en-US" sz="767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4</a:t>
            </a:fld>
            <a:endParaRPr lang="ru-RU" sz="767" dirty="0">
              <a:sym typeface="+mn-lt"/>
            </a:endParaRPr>
          </a:p>
        </p:txBody>
      </p:sp>
      <p:sp>
        <p:nvSpPr>
          <p:cNvPr id="266" name="Текст 2">
            <a:extLst>
              <a:ext uri="{FF2B5EF4-FFF2-40B4-BE49-F238E27FC236}">
                <a16:creationId xmlns:a16="http://schemas.microsoft.com/office/drawing/2014/main" xmlns="" id="{A4251AA6-ACE3-48B0-BD1C-63B89B11AAD6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9720613" y="6201336"/>
            <a:ext cx="288018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BEC1900-58A3-4C8E-8D28-A47A7C267BE4}" type="datetime'''''2''''''''''0''''''''''''''''23'''''''''' ''''''''П'">
              <a:rPr lang="ru-RU" altLang="en-US" sz="767"/>
              <a:pPr/>
              <a:t>2023 П</a:t>
            </a:fld>
            <a:endParaRPr lang="ru-RU" sz="767" dirty="0">
              <a:sym typeface="+mn-lt"/>
            </a:endParaRPr>
          </a:p>
        </p:txBody>
      </p:sp>
      <p:sp>
        <p:nvSpPr>
          <p:cNvPr id="273" name="Текст 2">
            <a:extLst>
              <a:ext uri="{FF2B5EF4-FFF2-40B4-BE49-F238E27FC236}">
                <a16:creationId xmlns:a16="http://schemas.microsoft.com/office/drawing/2014/main" xmlns="" id="{A4251AA6-ACE3-48B0-BD1C-63B89B11AAD6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6839087" y="6201336"/>
            <a:ext cx="905971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41A910-DE97-4703-B690-4141745D3C50}" type="datetime'2''0''''21'' ''(''у''''''тверж''''денн''''''''ый'''''''')'">
              <a:rPr lang="ru-RU" altLang="en-US" sz="767"/>
              <a:pPr/>
              <a:t>2021 (утвержденный)</a:t>
            </a:fld>
            <a:endParaRPr lang="ru-RU" sz="767" dirty="0">
              <a:sym typeface="+mn-lt"/>
            </a:endParaRPr>
          </a:p>
        </p:txBody>
      </p:sp>
      <p:sp>
        <p:nvSpPr>
          <p:cNvPr id="274" name="Текст 2">
            <a:extLst>
              <a:ext uri="{FF2B5EF4-FFF2-40B4-BE49-F238E27FC236}">
                <a16:creationId xmlns:a16="http://schemas.microsoft.com/office/drawing/2014/main" xmlns="" id="{9CEFB45C-0CAD-4BC1-B109-D217E361DF30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gray">
          <a:xfrm>
            <a:off x="5846574" y="3744396"/>
            <a:ext cx="317766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51C65C0-92D5-4D50-B5A2-9A53F5A200AE}" type="datetime'''''''3'' 55''''''''''''''2'''',''5'''''">
              <a:rPr lang="ru-RU" altLang="en-US" sz="767" b="1"/>
              <a:pPr/>
              <a:t>3 552,5</a:t>
            </a:fld>
            <a:endParaRPr lang="ru-RU" sz="767" b="1" dirty="0">
              <a:sym typeface="+mn-lt"/>
            </a:endParaRPr>
          </a:p>
        </p:txBody>
      </p:sp>
      <p:sp>
        <p:nvSpPr>
          <p:cNvPr id="533" name="Текст 2"/>
          <p:cNvSpPr>
            <a:spLocks noGrp="1"/>
          </p:cNvSpPr>
          <p:nvPr>
            <p:custDataLst>
              <p:tags r:id="rId140"/>
            </p:custDataLst>
          </p:nvPr>
        </p:nvSpPr>
        <p:spPr bwMode="gray">
          <a:xfrm>
            <a:off x="5089343" y="4308262"/>
            <a:ext cx="148742" cy="116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D46234-0884-455A-B74F-2CBDB123128E}" type="datetime'''''''''''''0'''''''''''''''''''',''5'''''''">
              <a:rPr lang="ru-RU" altLang="en-US" sz="767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ru-RU" sz="767" dirty="0">
              <a:sym typeface="+mn-lt"/>
            </a:endParaRPr>
          </a:p>
        </p:txBody>
      </p:sp>
      <p:sp>
        <p:nvSpPr>
          <p:cNvPr id="262" name="Текст 2">
            <a:extLst>
              <a:ext uri="{FF2B5EF4-FFF2-40B4-BE49-F238E27FC236}">
                <a16:creationId xmlns:a16="http://schemas.microsoft.com/office/drawing/2014/main" xmlns="" id="{C6F6DAA5-01C0-4A4A-B794-FF7FC4FE6EA8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3330135" y="6201336"/>
            <a:ext cx="205534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AE4CCCA-20D9-43A8-9E16-11C12081F2D4}" type="datetime'''2''''''0''''''''''''''''''1''''''''''''''''''''''''8'">
              <a:rPr lang="ru-RU" altLang="en-US" sz="767"/>
              <a:pPr/>
              <a:t>2018</a:t>
            </a:fld>
            <a:endParaRPr lang="ru-RU" sz="767" dirty="0">
              <a:sym typeface="+mn-lt"/>
            </a:endParaRPr>
          </a:p>
        </p:txBody>
      </p:sp>
      <p:sp>
        <p:nvSpPr>
          <p:cNvPr id="1060" name="Текст 2"/>
          <p:cNvSpPr>
            <a:spLocks noGrp="1"/>
          </p:cNvSpPr>
          <p:nvPr>
            <p:custDataLst>
              <p:tags r:id="rId142"/>
            </p:custDataLst>
          </p:nvPr>
        </p:nvSpPr>
        <p:spPr bwMode="gray">
          <a:xfrm>
            <a:off x="3514037" y="4607097"/>
            <a:ext cx="197421" cy="1162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C7C6EE-FBC6-4B7C-B7CE-620C0FF0BFF4}" type="datetime'''''''''''6''''''7'''''''''''''''''''''''''',9'''''''''">
              <a:rPr lang="ru-RU" altLang="en-US" sz="767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,9</a:t>
            </a:fld>
            <a:endParaRPr lang="ru-RU" sz="767" dirty="0">
              <a:sym typeface="+mn-lt"/>
            </a:endParaRPr>
          </a:p>
        </p:txBody>
      </p:sp>
      <p:sp>
        <p:nvSpPr>
          <p:cNvPr id="532" name="Текст 2"/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3803405" y="4563827"/>
            <a:ext cx="148742" cy="116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3B30A0-344C-43EE-B5F1-435DDE685828}" type="datetime'''''''''''''''''''''''''''0'''''''''',''''''4'''''''''''''''">
              <a:rPr lang="ru-RU" altLang="en-US" sz="767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,4</a:t>
            </a:fld>
            <a:endParaRPr lang="ru-RU" sz="767" dirty="0">
              <a:sym typeface="+mn-lt"/>
            </a:endParaRPr>
          </a:p>
        </p:txBody>
      </p:sp>
      <p:sp>
        <p:nvSpPr>
          <p:cNvPr id="547" name="Текст 2"/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4441643" y="4390746"/>
            <a:ext cx="197421" cy="116289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9AB0A-3212-4FFC-8699-E8C0F8BBE110}" type="datetime'''''''''''''''28,''''''''''''''''''''''''''8'''''''''''">
              <a:rPr lang="ru-RU" altLang="en-US" sz="767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,8</a:t>
            </a:fld>
            <a:endParaRPr lang="ru-RU" sz="767" dirty="0">
              <a:sym typeface="+mn-lt"/>
            </a:endParaRPr>
          </a:p>
        </p:txBody>
      </p:sp>
      <p:sp>
        <p:nvSpPr>
          <p:cNvPr id="1058" name="Текст 2"/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3155705" y="4644959"/>
            <a:ext cx="197421" cy="116289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39C6A4-A9B6-46B0-A043-95A0EA50D4E7}" type="datetime'2''''''''''''2'',''''''''''''''''''''''''''''''''6'''''">
              <a:rPr lang="ru-RU" altLang="en-US" sz="767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,6</a:t>
            </a:fld>
            <a:endParaRPr lang="ru-RU" sz="767" dirty="0">
              <a:sym typeface="+mn-lt"/>
            </a:endParaRPr>
          </a:p>
        </p:txBody>
      </p:sp>
      <p:sp>
        <p:nvSpPr>
          <p:cNvPr id="261" name="Текст 2"/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4560635" y="4826153"/>
            <a:ext cx="316414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61906A-EA47-42EE-B191-6FB940E0FB9F}" type="datetime'''''1 ''6''''''''''1''''''9'''''''''''''''''',''''''''''''5'''">
              <a:rPr lang="ru-RU" altLang="en-US" sz="767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 619,5</a:t>
            </a:fld>
            <a:endParaRPr lang="ru-RU" sz="76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72" name="Текст 2"/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8419801" y="4662537"/>
            <a:ext cx="316414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D665A9-3BE1-45D5-AA88-E9F663B9D9AE}" type="datetime'''''2 1''''''''''0''''''''4'''''''''''''''''''''''''',8'''''">
              <a:rPr lang="ru-RU" altLang="en-US" sz="767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 104,8</a:t>
            </a:fld>
            <a:endParaRPr lang="ru-RU" sz="76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59" name="Текст 2"/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4799975" y="4348828"/>
            <a:ext cx="197421" cy="11628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8A039E9-5F3C-4B4A-9BC8-0487EEABCB11}" type="datetime'''''''''''''''''''''''''''''7''''''''''1'',''''''''''''''''9'">
              <a:rPr lang="ru-RU" altLang="en-US" sz="767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1,9</a:t>
            </a:fld>
            <a:endParaRPr lang="ru-RU" sz="767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8" name="Текст 2">
            <a:extLst>
              <a:ext uri="{FF2B5EF4-FFF2-40B4-BE49-F238E27FC236}">
                <a16:creationId xmlns:a16="http://schemas.microsoft.com/office/drawing/2014/main" xmlns="" id="{9CEFB45C-0CAD-4BC1-B109-D217E361DF30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9705740" y="3060185"/>
            <a:ext cx="317766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C2C2EBE-1B51-4C02-9053-97072619EF43}" type="datetime'''''4'' ''''''''''''''3''''''''''''''''9''2'''''''''''''''',6'">
              <a:rPr lang="ru-RU" altLang="en-US" sz="767" b="1"/>
              <a:pPr/>
              <a:t>4 392,6</a:t>
            </a:fld>
            <a:endParaRPr lang="ru-RU" sz="767" b="1" dirty="0">
              <a:sym typeface="+mn-lt"/>
            </a:endParaRPr>
          </a:p>
        </p:txBody>
      </p:sp>
      <p:sp>
        <p:nvSpPr>
          <p:cNvPr id="506" name="Текст 2"/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3274698" y="5180428"/>
            <a:ext cx="316414" cy="116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6F7847-B3C7-43DC-8BB5-C1720237A410}" type="datetime'''1 4''''''''''''''5''''''''''''1'''''''''''''''''''''''',3'''">
              <a:rPr lang="ru-RU" altLang="en-US" sz="767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 451,3</a:t>
            </a:fld>
            <a:endParaRPr lang="ru-RU" sz="76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19" name="Текст 2"/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9945080" y="3602415"/>
            <a:ext cx="197421" cy="1162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89F2A8-DC2F-4E93-84EB-9D7BCCB9CCA7}" type="datetime'9''4'''''''''''''''''',''''''''0'''''''''''''''''''''''''''">
              <a:rPr lang="ru-RU" altLang="en-US" sz="7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,0</a:t>
            </a:fld>
            <a:endParaRPr lang="ru-RU" sz="767" dirty="0">
              <a:sym typeface="+mn-lt"/>
            </a:endParaRPr>
          </a:p>
        </p:txBody>
      </p:sp>
      <p:sp>
        <p:nvSpPr>
          <p:cNvPr id="276" name="Текст 2"/>
          <p:cNvSpPr>
            <a:spLocks noGrp="1"/>
          </p:cNvSpPr>
          <p:nvPr>
            <p:custDataLst>
              <p:tags r:id="rId152"/>
            </p:custDataLst>
          </p:nvPr>
        </p:nvSpPr>
        <p:spPr bwMode="gray">
          <a:xfrm>
            <a:off x="9705740" y="4539488"/>
            <a:ext cx="316414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ADD5855-B7C3-4302-9769-7360254F9437}" type="datetime'''2 ''''''''''''''''''''''''25''2'''''',''''''''''''1'''">
              <a:rPr lang="ru-RU" altLang="en-US" sz="767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 252,1</a:t>
            </a:fld>
            <a:endParaRPr lang="ru-RU" sz="76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80" name="Текст 2">
            <a:extLst>
              <a:ext uri="{FF2B5EF4-FFF2-40B4-BE49-F238E27FC236}">
                <a16:creationId xmlns:a16="http://schemas.microsoft.com/office/drawing/2014/main" xmlns="" id="{38134D48-06FE-430B-BEFF-FF428458D06E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gray">
          <a:xfrm>
            <a:off x="3274697" y="4181155"/>
            <a:ext cx="317766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AE6A56D-E265-4E60-B428-525A681CA6DB}" type="datetime'3'''''''''''''''''''''' ''''''''''''''''015'''',''''6'">
              <a:rPr lang="ru-RU" altLang="en-US" sz="767" b="1"/>
              <a:pPr/>
              <a:t>3 015,6</a:t>
            </a:fld>
            <a:endParaRPr lang="ru-RU" sz="767" b="1" dirty="0">
              <a:sym typeface="+mn-lt"/>
            </a:endParaRPr>
          </a:p>
        </p:txBody>
      </p:sp>
      <p:sp>
        <p:nvSpPr>
          <p:cNvPr id="253" name="Текст 2">
            <a:extLst>
              <a:ext uri="{FF2B5EF4-FFF2-40B4-BE49-F238E27FC236}">
                <a16:creationId xmlns:a16="http://schemas.microsoft.com/office/drawing/2014/main" xmlns="" id="{49E0F5D4-F9D7-4728-9013-35131DFEC4A8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gray">
          <a:xfrm>
            <a:off x="4560635" y="3903955"/>
            <a:ext cx="317766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3A26B04-ED5D-477A-B6F4-E6C1354CD93F}" type="datetime'''''''3'''''''''' ''3''''5''''''''6'''''''',''3'''''''''''">
              <a:rPr lang="ru-RU" altLang="en-US" sz="767" b="1"/>
              <a:pPr/>
              <a:t>3 356,3</a:t>
            </a:fld>
            <a:endParaRPr lang="ru-RU" sz="767" b="1" dirty="0">
              <a:sym typeface="+mn-lt"/>
            </a:endParaRPr>
          </a:p>
        </p:txBody>
      </p:sp>
      <p:sp>
        <p:nvSpPr>
          <p:cNvPr id="256" name="Текст 2">
            <a:extLst>
              <a:ext uri="{FF2B5EF4-FFF2-40B4-BE49-F238E27FC236}">
                <a16:creationId xmlns:a16="http://schemas.microsoft.com/office/drawing/2014/main" xmlns="" id="{9CEFB45C-0CAD-4BC1-B109-D217E361DF30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gray">
          <a:xfrm>
            <a:off x="8419802" y="3294115"/>
            <a:ext cx="317766" cy="11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3522" tIns="0" rIns="1352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88436D-6A0A-4533-A51F-CC60FD99BF54}" type="datetime'''''4 ''''''1''0''5'''''',''''2'''''''">
              <a:rPr lang="ru-RU" altLang="en-US" sz="767" b="1"/>
              <a:pPr/>
              <a:t>4 105,2</a:t>
            </a:fld>
            <a:endParaRPr lang="ru-RU" sz="767" b="1" dirty="0">
              <a:sym typeface="+mn-lt"/>
            </a:endParaRPr>
          </a:p>
        </p:txBody>
      </p:sp>
      <p:sp>
        <p:nvSpPr>
          <p:cNvPr id="281" name="Текст 2">
            <a:extLst>
              <a:ext uri="{FF2B5EF4-FFF2-40B4-BE49-F238E27FC236}">
                <a16:creationId xmlns:a16="http://schemas.microsoft.com/office/drawing/2014/main" xmlns="" id="{37FEAF81-56F0-484C-B90F-8CC537633244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3907523" y="3659206"/>
            <a:ext cx="304244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C283777-8AD1-46C8-8F91-BD3E9E7BAAC4}" type="datetime'+1''''''''''1''%'''''''''''''''''''''''''''">
              <a:rPr lang="ru-RU" altLang="en-US" sz="767">
                <a:solidFill>
                  <a:schemeClr val="tx1"/>
                </a:solidFill>
              </a:rPr>
              <a:pPr/>
              <a:t>+11%</a:t>
            </a:fld>
            <a:endParaRPr lang="ru-RU" sz="767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2" name="Текст 2">
            <a:extLst>
              <a:ext uri="{FF2B5EF4-FFF2-40B4-BE49-F238E27FC236}">
                <a16:creationId xmlns:a16="http://schemas.microsoft.com/office/drawing/2014/main" xmlns="" id="{D8B3EC8C-E4F9-447D-BBE0-3F3DC3695073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5243495" y="3499647"/>
            <a:ext cx="235282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CEAEEA6-214A-49BC-A02C-C0D4A0D29675}" type="datetime'''''''''''''''''''''''''''''''+''''6''''%'''''''''''''">
              <a:rPr lang="ru-RU" altLang="en-US" sz="767">
                <a:solidFill>
                  <a:schemeClr val="tx1"/>
                </a:solidFill>
              </a:rPr>
              <a:pPr/>
              <a:t>+6%</a:t>
            </a:fld>
            <a:endParaRPr lang="ru-RU" sz="767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3" name="Текст 2"/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6530784" y="3281943"/>
            <a:ext cx="235282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0FB46A-2F3C-433B-A0D5-DF8ECEBDA2A6}" type="datetime'''+''''8''%'''''''''''''''''''''''''''''">
              <a:rPr lang="ru-RU" altLang="en-US" sz="7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8%</a:t>
            </a:fld>
            <a:endParaRPr lang="ru-RU" sz="767" dirty="0">
              <a:sym typeface="+mn-lt"/>
            </a:endParaRPr>
          </a:p>
        </p:txBody>
      </p:sp>
      <p:sp>
        <p:nvSpPr>
          <p:cNvPr id="284" name="Текст 2"/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7816722" y="3049367"/>
            <a:ext cx="235282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885C3E1-3894-4B22-A85E-14BCF3B6CBCD}" type="datetime'''+''''''''''''''''''''7''''''''''''''''''''''%'''''''''''">
              <a:rPr lang="ru-RU" altLang="en-US" sz="767">
                <a:solidFill>
                  <a:schemeClr val="tx1"/>
                </a:solidFill>
              </a:rPr>
              <a:pPr/>
              <a:t>+7%</a:t>
            </a:fld>
            <a:endParaRPr lang="ru-RU" sz="767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5" name="Текст 2"/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9118887" y="2815435"/>
            <a:ext cx="235282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0BA1A1-140B-4928-8C1A-F942392D3CCB}" type="datetime'''+''''''''7''''''''''''''%'''''''''''''''''">
              <a:rPr lang="ru-RU" altLang="en-US" sz="767">
                <a:solidFill>
                  <a:schemeClr val="tx1"/>
                </a:solidFill>
              </a:rPr>
              <a:pPr/>
              <a:t>+7%</a:t>
            </a:fld>
            <a:endParaRPr lang="ru-RU" sz="767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8" name="Прямоугольник 287">
            <a:extLst>
              <a:ext uri="{FF2B5EF4-FFF2-40B4-BE49-F238E27FC236}">
                <a16:creationId xmlns:a16="http://schemas.microsoft.com/office/drawing/2014/main" xmlns="" id="{0F4FE815-F99F-4811-BEF3-A1794C552441}"/>
              </a:ext>
            </a:extLst>
          </p:cNvPr>
          <p:cNvSpPr/>
          <p:nvPr>
            <p:custDataLst>
              <p:tags r:id="rId161"/>
            </p:custDataLst>
          </p:nvPr>
        </p:nvSpPr>
        <p:spPr bwMode="auto">
          <a:xfrm>
            <a:off x="685480" y="5661599"/>
            <a:ext cx="106824" cy="7978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162"/>
            </p:custDataLst>
          </p:nvPr>
        </p:nvSpPr>
        <p:spPr bwMode="auto">
          <a:xfrm>
            <a:off x="685480" y="4858395"/>
            <a:ext cx="106824" cy="79780"/>
          </a:xfrm>
          <a:prstGeom prst="rect">
            <a:avLst/>
          </a:prstGeom>
          <a:solidFill>
            <a:srgbClr val="D2DEE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289" name="Прямоугольник 288">
            <a:extLst>
              <a:ext uri="{FF2B5EF4-FFF2-40B4-BE49-F238E27FC236}">
                <a16:creationId xmlns:a16="http://schemas.microsoft.com/office/drawing/2014/main" xmlns="" id="{A736D20F-57AA-4EA3-87DE-B2D6D5C320B0}"/>
              </a:ext>
            </a:extLst>
          </p:cNvPr>
          <p:cNvSpPr/>
          <p:nvPr>
            <p:custDataLst>
              <p:tags r:id="rId163"/>
            </p:custDataLst>
          </p:nvPr>
        </p:nvSpPr>
        <p:spPr bwMode="auto">
          <a:xfrm>
            <a:off x="685480" y="5527733"/>
            <a:ext cx="106824" cy="79780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164"/>
            </p:custDataLst>
          </p:nvPr>
        </p:nvSpPr>
        <p:spPr bwMode="auto">
          <a:xfrm>
            <a:off x="685480" y="4724528"/>
            <a:ext cx="106824" cy="79780"/>
          </a:xfrm>
          <a:prstGeom prst="rect">
            <a:avLst/>
          </a:prstGeom>
          <a:solidFill>
            <a:srgbClr val="EAEFF7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287" name="Прямоугольник 286"/>
          <p:cNvSpPr/>
          <p:nvPr>
            <p:custDataLst>
              <p:tags r:id="rId165"/>
            </p:custDataLst>
          </p:nvPr>
        </p:nvSpPr>
        <p:spPr bwMode="auto">
          <a:xfrm>
            <a:off x="685480" y="5393866"/>
            <a:ext cx="106824" cy="7978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291" name="Прямоугольник 290"/>
          <p:cNvSpPr/>
          <p:nvPr>
            <p:custDataLst>
              <p:tags r:id="rId166"/>
            </p:custDataLst>
          </p:nvPr>
        </p:nvSpPr>
        <p:spPr bwMode="auto">
          <a:xfrm>
            <a:off x="685480" y="5126131"/>
            <a:ext cx="106824" cy="79780"/>
          </a:xfrm>
          <a:prstGeom prst="rect">
            <a:avLst/>
          </a:prstGeom>
          <a:pattFill prst="ltUpDiag">
            <a:fgClr>
              <a:srgbClr val="000000"/>
            </a:fgClr>
            <a:bgClr>
              <a:srgbClr val="FFFFFF"/>
            </a:bgClr>
          </a:patt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630" name="Прямоугольник 629"/>
          <p:cNvSpPr/>
          <p:nvPr>
            <p:custDataLst>
              <p:tags r:id="rId167"/>
            </p:custDataLst>
          </p:nvPr>
        </p:nvSpPr>
        <p:spPr bwMode="auto">
          <a:xfrm>
            <a:off x="685480" y="4992264"/>
            <a:ext cx="106824" cy="7978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290" name="Прямоугольник 289"/>
          <p:cNvSpPr/>
          <p:nvPr>
            <p:custDataLst>
              <p:tags r:id="rId168"/>
            </p:custDataLst>
          </p:nvPr>
        </p:nvSpPr>
        <p:spPr bwMode="auto">
          <a:xfrm>
            <a:off x="685480" y="5259999"/>
            <a:ext cx="106824" cy="79780"/>
          </a:xfrm>
          <a:prstGeom prst="rect">
            <a:avLst/>
          </a:prstGeom>
          <a:solidFill>
            <a:srgbClr val="D6D7D9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529" name="Прямоугольник 528"/>
          <p:cNvSpPr/>
          <p:nvPr>
            <p:custDataLst>
              <p:tags r:id="rId169"/>
            </p:custDataLst>
          </p:nvPr>
        </p:nvSpPr>
        <p:spPr bwMode="auto">
          <a:xfrm>
            <a:off x="685480" y="5795467"/>
            <a:ext cx="106824" cy="79780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297" name="Текст 2">
            <a:extLst>
              <a:ext uri="{FF2B5EF4-FFF2-40B4-BE49-F238E27FC236}">
                <a16:creationId xmlns:a16="http://schemas.microsoft.com/office/drawing/2014/main" xmlns="" id="{A040B321-707C-48D2-8621-7E9D4783F70C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835572" y="5123426"/>
            <a:ext cx="1499586" cy="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93BE021-1900-43FF-A895-F9312B5D4495}" type="datetime'Мо''лодежн''ая политика и'' оздо''''ровле''н''ие'''' детей'">
              <a:rPr lang="ru-RU" altLang="en-US" sz="596"/>
              <a:pPr/>
              <a:t>Молодежная политика и оздоровление детей</a:t>
            </a:fld>
            <a:endParaRPr lang="ru-RU" sz="596" dirty="0">
              <a:sym typeface="+mn-lt"/>
            </a:endParaRPr>
          </a:p>
        </p:txBody>
      </p:sp>
      <p:sp>
        <p:nvSpPr>
          <p:cNvPr id="163" name="Текст 2">
            <a:extLst>
              <a:ext uri="{FF2B5EF4-FFF2-40B4-BE49-F238E27FC236}">
                <a16:creationId xmlns:a16="http://schemas.microsoft.com/office/drawing/2014/main" xmlns="" id="{A040B321-707C-48D2-8621-7E9D4783F70C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835574" y="4721824"/>
            <a:ext cx="1195341" cy="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C48973E-B0B5-4E6E-87E1-4F9FD53BA117}" type="datetime'Д''о''''полн''''ите''''л''ьное о''б''разов''''ан''ие дете''й'">
              <a:rPr lang="ru-RU" altLang="en-US" sz="596"/>
              <a:pPr/>
              <a:t>Дополнительное образование детей</a:t>
            </a:fld>
            <a:endParaRPr lang="ru-RU" sz="596" dirty="0">
              <a:sym typeface="+mn-lt"/>
            </a:endParaRPr>
          </a:p>
        </p:txBody>
      </p:sp>
      <p:sp>
        <p:nvSpPr>
          <p:cNvPr id="162" name="Текст 2">
            <a:extLst>
              <a:ext uri="{FF2B5EF4-FFF2-40B4-BE49-F238E27FC236}">
                <a16:creationId xmlns:a16="http://schemas.microsoft.com/office/drawing/2014/main" xmlns="" id="{A040B321-707C-48D2-8621-7E9D4783F70C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835574" y="4855691"/>
            <a:ext cx="1291347" cy="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A305D0C-3A0B-47BF-A7AB-29469BA5A035}" type="datetime'Дру''''''''ги''е вопросы в'' обла''''сти ''обра''з''ова''ния'">
              <a:rPr lang="ru-RU" altLang="en-US" sz="596"/>
              <a:pPr/>
              <a:t>Другие вопросы в области образования</a:t>
            </a:fld>
            <a:endParaRPr lang="ru-RU" sz="596" dirty="0">
              <a:sym typeface="+mn-lt"/>
            </a:endParaRPr>
          </a:p>
        </p:txBody>
      </p:sp>
      <p:sp>
        <p:nvSpPr>
          <p:cNvPr id="627" name="Текст 2">
            <a:extLst>
              <a:ext uri="{FF2B5EF4-FFF2-40B4-BE49-F238E27FC236}">
                <a16:creationId xmlns:a16="http://schemas.microsoft.com/office/drawing/2014/main" xmlns="" id="{A040B321-707C-48D2-8621-7E9D4783F70C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835572" y="4989559"/>
            <a:ext cx="1943106" cy="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6F58C4F-CA7E-45A2-B364-42CE2B8EBB4B}" type="datetime'Прикладные научные иссле''д''''ования в области об''разования'">
              <a:rPr lang="ru-RU" altLang="en-US" sz="596"/>
              <a:pPr/>
              <a:t>Прикладные научные исследования в области образования</a:t>
            </a:fld>
            <a:endParaRPr lang="ru-RU" sz="596" dirty="0">
              <a:sym typeface="+mn-lt"/>
            </a:endParaRPr>
          </a:p>
        </p:txBody>
      </p:sp>
      <p:sp>
        <p:nvSpPr>
          <p:cNvPr id="292" name="Текст 2">
            <a:extLst>
              <a:ext uri="{FF2B5EF4-FFF2-40B4-BE49-F238E27FC236}">
                <a16:creationId xmlns:a16="http://schemas.microsoft.com/office/drawing/2014/main" xmlns="" id="{A040B321-707C-48D2-8621-7E9D4783F70C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835574" y="5257294"/>
            <a:ext cx="1948515" cy="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5602FD5-28E3-4596-9D07-D1D8B0C4F851}" type="datetime'Профессион''альная ''подгото''вка и повы''шение квалификации'">
              <a:rPr lang="ru-RU" altLang="en-US" sz="596"/>
              <a:pPr/>
              <a:t>Профессиональная подготовка и повышение квалификации</a:t>
            </a:fld>
            <a:endParaRPr lang="ru-RU" sz="596" dirty="0">
              <a:sym typeface="+mn-lt"/>
            </a:endParaRPr>
          </a:p>
        </p:txBody>
      </p:sp>
      <p:sp>
        <p:nvSpPr>
          <p:cNvPr id="296" name="Текст 2">
            <a:extLst>
              <a:ext uri="{FF2B5EF4-FFF2-40B4-BE49-F238E27FC236}">
                <a16:creationId xmlns:a16="http://schemas.microsoft.com/office/drawing/2014/main" xmlns="" id="{A040B321-707C-48D2-8621-7E9D4783F70C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835573" y="5391161"/>
            <a:ext cx="1922822" cy="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523227B-68BF-4C0B-B1F2-72D8B8AAD861}" type="datetime'Вы''''сшее и послевузовское'' профессиональное'' образование'">
              <a:rPr lang="ru-RU" altLang="en-US" sz="596"/>
              <a:pPr/>
              <a:t>Высшее и послевузовское профессиональное образование</a:t>
            </a:fld>
            <a:endParaRPr lang="ru-RU" sz="596" dirty="0">
              <a:sym typeface="+mn-lt"/>
            </a:endParaRPr>
          </a:p>
        </p:txBody>
      </p:sp>
      <p:sp>
        <p:nvSpPr>
          <p:cNvPr id="295" name="Текст 2">
            <a:extLst>
              <a:ext uri="{FF2B5EF4-FFF2-40B4-BE49-F238E27FC236}">
                <a16:creationId xmlns:a16="http://schemas.microsoft.com/office/drawing/2014/main" xmlns="" id="{A040B321-707C-48D2-8621-7E9D4783F70C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835572" y="5525029"/>
            <a:ext cx="1353548" cy="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905971D-D5C1-445E-82BF-90E15E1B3B79}" type="datetime'Сре''днее проф''ес''с''ион''ально''е о''бра''зо''ван''''ие'">
              <a:rPr lang="ru-RU" altLang="en-US" sz="596"/>
              <a:pPr/>
              <a:t>Среднее профессиональное образование</a:t>
            </a:fld>
            <a:endParaRPr lang="ru-RU" sz="596" dirty="0">
              <a:sym typeface="+mn-lt"/>
            </a:endParaRPr>
          </a:p>
        </p:txBody>
      </p:sp>
      <p:sp>
        <p:nvSpPr>
          <p:cNvPr id="294" name="Текст 2">
            <a:extLst>
              <a:ext uri="{FF2B5EF4-FFF2-40B4-BE49-F238E27FC236}">
                <a16:creationId xmlns:a16="http://schemas.microsoft.com/office/drawing/2014/main" xmlns="" id="{F6017B9F-32DE-4B64-8EDE-C103175EE22E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835573" y="5658896"/>
            <a:ext cx="662576" cy="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55B0986-F786-4545-9227-B20EBBDF7400}" type="datetime'О''''''''б''щее о''''''бр''''''''а''''з''''''''ов''а''ни''е'">
              <a:rPr lang="ru-RU" altLang="en-US" sz="596"/>
              <a:pPr/>
              <a:t>Общее образование</a:t>
            </a:fld>
            <a:endParaRPr lang="ru-RU" sz="596" dirty="0">
              <a:sym typeface="+mn-lt"/>
            </a:endParaRPr>
          </a:p>
        </p:txBody>
      </p:sp>
      <p:sp>
        <p:nvSpPr>
          <p:cNvPr id="493" name="Текст 2">
            <a:extLst>
              <a:ext uri="{FF2B5EF4-FFF2-40B4-BE49-F238E27FC236}">
                <a16:creationId xmlns:a16="http://schemas.microsoft.com/office/drawing/2014/main" xmlns="" id="{F6017B9F-32DE-4B64-8EDE-C103175EE22E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835575" y="5792764"/>
            <a:ext cx="853236" cy="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2371383-DBEB-46C5-9753-C526FE7A951D}" type="datetime'До''''шко''''льно''''''е об''''р''''аз''ован''''''''''''ие'">
              <a:rPr lang="ru-RU" altLang="en-US" sz="596"/>
              <a:pPr/>
              <a:t>Дошкольное образование</a:t>
            </a:fld>
            <a:endParaRPr lang="ru-RU" sz="596" dirty="0">
              <a:sym typeface="+mn-lt"/>
            </a:endParaRPr>
          </a:p>
        </p:txBody>
      </p:sp>
      <p:sp>
        <p:nvSpPr>
          <p:cNvPr id="298" name="Прямоугольник 297">
            <a:extLst>
              <a:ext uri="{FF2B5EF4-FFF2-40B4-BE49-F238E27FC236}">
                <a16:creationId xmlns:a16="http://schemas.microsoft.com/office/drawing/2014/main" xmlns="" id="{4FD4F29C-21D2-44B6-AA1B-CE666AA2CCA4}"/>
              </a:ext>
            </a:extLst>
          </p:cNvPr>
          <p:cNvSpPr/>
          <p:nvPr/>
        </p:nvSpPr>
        <p:spPr>
          <a:xfrm>
            <a:off x="6150625" y="1580653"/>
            <a:ext cx="1209725" cy="249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22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ля в ВВП, %</a:t>
            </a:r>
            <a:r>
              <a:rPr lang="ru-RU" sz="1022" b="1" baseline="30000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graphicFrame>
        <p:nvGraphicFramePr>
          <p:cNvPr id="202" name="Chart 3"/>
          <p:cNvGraphicFramePr/>
          <p:nvPr>
            <p:custDataLst>
              <p:tags r:id="rId179"/>
            </p:custDataLst>
            <p:extLst>
              <p:ext uri="{D42A27DB-BD31-4B8C-83A1-F6EECF244321}">
                <p14:modId xmlns:p14="http://schemas.microsoft.com/office/powerpoint/2010/main" val="1294014032"/>
              </p:ext>
            </p:extLst>
          </p:nvPr>
        </p:nvGraphicFramePr>
        <p:xfrm>
          <a:off x="2720296" y="2061708"/>
          <a:ext cx="7857610" cy="462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1"/>
          </a:graphicData>
        </a:graphic>
      </p:graphicFrame>
      <p:sp>
        <p:nvSpPr>
          <p:cNvPr id="300" name="Текст 2">
            <a:extLst>
              <a:ext uri="{FF2B5EF4-FFF2-40B4-BE49-F238E27FC236}">
                <a16:creationId xmlns:a16="http://schemas.microsoft.com/office/drawing/2014/main" xmlns="" id="{0E12DB11-EE74-4955-A96F-884E41040360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9726022" y="2486299"/>
            <a:ext cx="266383" cy="1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DFDEC57-A346-400F-A13C-84E0BC9903E1}" type="datetime'''''2''''''''''''''''''''''''''''''''''''''0''''''23''''''П'">
              <a:rPr lang="ru-RU" altLang="en-US" sz="767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П</a:t>
            </a:fld>
            <a:endParaRPr lang="ru-RU" sz="767" dirty="0">
              <a:solidFill>
                <a:srgbClr val="000000"/>
              </a:solidFill>
              <a:latin typeface="Calibri"/>
              <a:sym typeface="+mn-lt"/>
            </a:endParaRPr>
          </a:p>
        </p:txBody>
      </p:sp>
      <p:sp>
        <p:nvSpPr>
          <p:cNvPr id="304" name="Текст 2">
            <a:extLst>
              <a:ext uri="{FF2B5EF4-FFF2-40B4-BE49-F238E27FC236}">
                <a16:creationId xmlns:a16="http://schemas.microsoft.com/office/drawing/2014/main" xmlns="" id="{58BEB35F-0DBD-4C5A-839E-F681F51DCB4E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auto">
          <a:xfrm>
            <a:off x="7158878" y="2486299"/>
            <a:ext cx="266383" cy="1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D476F49-E091-434E-9F0F-CDB89EA2349F}" type="datetime'''''''''''''2''''''''''''''0''''''''''''''''''21''''П'">
              <a:rPr lang="ru-RU" altLang="en-US" sz="767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1П</a:t>
            </a:fld>
            <a:endParaRPr lang="ru-RU" sz="767" dirty="0">
              <a:solidFill>
                <a:srgbClr val="000000"/>
              </a:solidFill>
              <a:latin typeface="Calibri"/>
              <a:sym typeface="+mn-lt"/>
            </a:endParaRPr>
          </a:p>
        </p:txBody>
      </p:sp>
      <p:sp>
        <p:nvSpPr>
          <p:cNvPr id="303" name="Текст 2">
            <a:extLst>
              <a:ext uri="{FF2B5EF4-FFF2-40B4-BE49-F238E27FC236}">
                <a16:creationId xmlns:a16="http://schemas.microsoft.com/office/drawing/2014/main" xmlns="" id="{4DA90EB2-2A2F-418A-8097-1392080D1E44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5896531" y="2486299"/>
            <a:ext cx="205534" cy="1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068BBFF-F166-465A-91B9-07FBBDE7011C}" type="datetime'''''2''''02''''''''''''''0'''''">
              <a:rPr lang="ru-RU" altLang="en-US" sz="767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0</a:t>
            </a:fld>
            <a:endParaRPr lang="ru-RU" sz="767" dirty="0">
              <a:solidFill>
                <a:srgbClr val="000000"/>
              </a:solidFill>
              <a:latin typeface="Calibri"/>
              <a:sym typeface="+mn-lt"/>
            </a:endParaRPr>
          </a:p>
        </p:txBody>
      </p:sp>
      <p:sp>
        <p:nvSpPr>
          <p:cNvPr id="302" name="Текст 2">
            <a:extLst>
              <a:ext uri="{FF2B5EF4-FFF2-40B4-BE49-F238E27FC236}">
                <a16:creationId xmlns:a16="http://schemas.microsoft.com/office/drawing/2014/main" xmlns="" id="{56ACC020-0ED3-4D79-97E3-BB3366464681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4615700" y="2486299"/>
            <a:ext cx="205534" cy="1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19E91B4-B7BE-4A3B-9D3D-9EBDDC3EC0ED}" type="datetime'20''''''''''''''''1''''''''''''''9'''''''''''''''''''''">
              <a:rPr lang="ru-RU" altLang="en-US" sz="767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19</a:t>
            </a:fld>
            <a:endParaRPr lang="ru-RU" sz="767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1" name="Текст 2">
            <a:extLst>
              <a:ext uri="{FF2B5EF4-FFF2-40B4-BE49-F238E27FC236}">
                <a16:creationId xmlns:a16="http://schemas.microsoft.com/office/drawing/2014/main" xmlns="" id="{D1EE1FE0-CC2C-41F1-9DD8-D7697F005647}"/>
              </a:ext>
            </a:extLst>
          </p:cNvPr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3334868" y="2486299"/>
            <a:ext cx="205534" cy="1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9F286B-0A3E-4746-A469-530113E7B0E7}" type="datetime'''''''''''''''2''018'">
              <a:rPr lang="ru-RU" altLang="en-US" sz="767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18</a:t>
            </a:fld>
            <a:endParaRPr lang="ru-RU" sz="767" dirty="0">
              <a:solidFill>
                <a:srgbClr val="000000"/>
              </a:solidFill>
              <a:latin typeface="Calibri"/>
              <a:sym typeface="+mn-lt"/>
            </a:endParaRPr>
          </a:p>
        </p:txBody>
      </p:sp>
      <p:sp>
        <p:nvSpPr>
          <p:cNvPr id="305" name="Текст 2">
            <a:extLst>
              <a:ext uri="{FF2B5EF4-FFF2-40B4-BE49-F238E27FC236}">
                <a16:creationId xmlns:a16="http://schemas.microsoft.com/office/drawing/2014/main" xmlns="" id="{A002F0DF-3E0A-440C-AC0F-BE41FBD7A512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auto">
          <a:xfrm>
            <a:off x="8459982" y="2486299"/>
            <a:ext cx="266383" cy="1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CB67107-4062-42B8-961D-659942C5F78E}" type="datetime'''''''''2''''''0''''2''''''''''''''''''2''П'">
              <a:rPr lang="ru-RU" altLang="en-US" sz="767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П</a:t>
            </a:fld>
            <a:endParaRPr lang="ru-RU" sz="767" dirty="0">
              <a:solidFill>
                <a:srgbClr val="000000"/>
              </a:solidFill>
              <a:latin typeface="Calibri"/>
              <a:sym typeface="+mn-lt"/>
            </a:endParaRPr>
          </a:p>
        </p:txBody>
      </p:sp>
      <p:sp>
        <p:nvSpPr>
          <p:cNvPr id="306" name="Прямоугольник 305">
            <a:extLst>
              <a:ext uri="{FF2B5EF4-FFF2-40B4-BE49-F238E27FC236}">
                <a16:creationId xmlns:a16="http://schemas.microsoft.com/office/drawing/2014/main" xmlns="" id="{FC381C51-A4EF-4422-82C0-F708D87C1617}"/>
              </a:ext>
            </a:extLst>
          </p:cNvPr>
          <p:cNvSpPr/>
          <p:nvPr/>
        </p:nvSpPr>
        <p:spPr>
          <a:xfrm>
            <a:off x="631234" y="1580613"/>
            <a:ext cx="1864684" cy="879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22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сновные допущения:</a:t>
            </a:r>
          </a:p>
          <a:p>
            <a:endParaRPr lang="ru-RU" sz="1022" b="1" dirty="0">
              <a:solidFill>
                <a:srgbClr val="364D6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46043" indent="-146043">
              <a:buFont typeface="Arial" panose="020B0604020202020204" pitchFamily="34" charset="0"/>
              <a:buChar char="•"/>
            </a:pPr>
            <a:r>
              <a:rPr lang="ru-RU" sz="767" dirty="0"/>
              <a:t>Прогноз контингента</a:t>
            </a:r>
          </a:p>
          <a:p>
            <a:pPr marL="146043" indent="-146043">
              <a:buFont typeface="Arial" panose="020B0604020202020204" pitchFamily="34" charset="0"/>
              <a:buChar char="•"/>
            </a:pPr>
            <a:r>
              <a:rPr lang="ru-RU" sz="767" dirty="0"/>
              <a:t>Прогноз роста ВВП</a:t>
            </a:r>
          </a:p>
          <a:p>
            <a:pPr marL="146043" indent="-146043">
              <a:buFont typeface="Arial" panose="020B0604020202020204" pitchFamily="34" charset="0"/>
              <a:buChar char="•"/>
            </a:pPr>
            <a:r>
              <a:rPr lang="ru-RU" sz="767" dirty="0"/>
              <a:t>Сохранение доли финансирования образования в общем объеме ВВП</a:t>
            </a:r>
          </a:p>
        </p:txBody>
      </p:sp>
      <p:sp>
        <p:nvSpPr>
          <p:cNvPr id="313" name="Прямоугольник 312"/>
          <p:cNvSpPr/>
          <p:nvPr/>
        </p:nvSpPr>
        <p:spPr>
          <a:xfrm>
            <a:off x="586216" y="7013828"/>
            <a:ext cx="8135445" cy="3752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4723" indent="-194723">
              <a:lnSpc>
                <a:spcPct val="90000"/>
              </a:lnSpc>
              <a:buAutoNum type="arabicPeriod"/>
              <a:defRPr/>
            </a:pPr>
            <a:r>
              <a:rPr lang="ru-RU" sz="681" spc="-34" dirty="0">
                <a:latin typeface="Calibri" pitchFamily="34" charset="0"/>
              </a:rPr>
              <a:t>Источник: Данные об исполнении бюджета РФ за 2018-2020 гг. – </a:t>
            </a:r>
            <a:r>
              <a:rPr lang="ru-RU" sz="681" spc="-34" dirty="0" err="1">
                <a:latin typeface="Calibri" pitchFamily="34" charset="0"/>
              </a:rPr>
              <a:t>Росказна</a:t>
            </a:r>
            <a:r>
              <a:rPr lang="ru-RU" sz="681" spc="-34" dirty="0">
                <a:latin typeface="Calibri" pitchFamily="34" charset="0"/>
              </a:rPr>
              <a:t> (https://roskazna.gov.ru/) , утверждённые показатели бюджета на 2021 год - </a:t>
            </a:r>
            <a:r>
              <a:rPr lang="ru-RU" sz="681" spc="-34" dirty="0" err="1">
                <a:latin typeface="Calibri" pitchFamily="34" charset="0"/>
              </a:rPr>
              <a:t>Росказана</a:t>
            </a:r>
            <a:r>
              <a:rPr lang="ru-RU" sz="681" spc="-34" dirty="0">
                <a:latin typeface="Calibri" pitchFamily="34" charset="0"/>
              </a:rPr>
              <a:t> (https://roskazna.gov.ru/),  прогноз бюджетов на 2021-2023 гг. – экспертная оценка Компании на основе доли в ВВП. Данные о ВВП за 2018 – 2020  гг. - Минэкономразвития России (minfin.gov.ru), прогноз на 2021 – 2023 гг. – скорректированный прогноз Минэкономразвития на 09.07.2021 (</a:t>
            </a:r>
            <a:r>
              <a:rPr lang="ru-RU" sz="681" spc="-34" dirty="0">
                <a:latin typeface="Calibri" pitchFamily="34" charset="0"/>
                <a:hlinkClick r:id="rId192"/>
              </a:rPr>
              <a:t>https://iz.ru/1190709/2021-07-09/minekonomrazvitiia-uluchshilo-otcenku-vvp-na-2021-god</a:t>
            </a:r>
            <a:r>
              <a:rPr lang="ru-RU" sz="681" spc="-34" dirty="0">
                <a:latin typeface="Calibri" pitchFamily="34" charset="0"/>
              </a:rPr>
              <a:t>)</a:t>
            </a:r>
          </a:p>
        </p:txBody>
      </p:sp>
      <p:sp>
        <p:nvSpPr>
          <p:cNvPr id="209" name="TextBox 208"/>
          <p:cNvSpPr txBox="1"/>
          <p:nvPr/>
        </p:nvSpPr>
        <p:spPr>
          <a:xfrm>
            <a:off x="2294826" y="592589"/>
            <a:ext cx="8246372" cy="317162"/>
          </a:xfrm>
          <a:prstGeom prst="rect">
            <a:avLst/>
          </a:prstGeom>
          <a:noFill/>
        </p:spPr>
        <p:txBody>
          <a:bodyPr wrap="square" lIns="103846" tIns="51923" rIns="103846" bIns="51923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533" spc="-34" dirty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инансирование системы образования РФ в 2018-2020 гг. и прогноз на 2021-2023 гг.</a:t>
            </a: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xmlns="" id="{4FD4F29C-21D2-44B6-AA1B-CE666AA2CCA4}"/>
              </a:ext>
            </a:extLst>
          </p:cNvPr>
          <p:cNvSpPr/>
          <p:nvPr/>
        </p:nvSpPr>
        <p:spPr>
          <a:xfrm>
            <a:off x="631234" y="3295860"/>
            <a:ext cx="4520314" cy="249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22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солидированный бюджет субъектов РФ, млрд руб.</a:t>
            </a:r>
          </a:p>
        </p:txBody>
      </p:sp>
      <p:sp>
        <p:nvSpPr>
          <p:cNvPr id="230" name="Номер слайда 2">
            <a:extLst>
              <a:ext uri="{FF2B5EF4-FFF2-40B4-BE49-F238E27FC236}">
                <a16:creationId xmlns:a16="http://schemas.microsoft.com/office/drawing/2014/main" xmlns="" id="{AD40FA2B-45F2-4FAD-B100-3FF9F50F7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53480" y="7288580"/>
            <a:ext cx="2336594" cy="311005"/>
          </a:xfrm>
        </p:spPr>
        <p:txBody>
          <a:bodyPr/>
          <a:lstStyle/>
          <a:p>
            <a:fld id="{8AD70286-9A37-49D5-84CC-170BFF34E83D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3174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60887" y="968399"/>
          <a:ext cx="1352" cy="1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Слайд think-cell" r:id="rId120" imgW="216" imgH="216" progId="TCLayout.ActiveDocument.1">
                  <p:embed/>
                </p:oleObj>
              </mc:Choice>
              <mc:Fallback>
                <p:oleObj name="Слайд think-cell" r:id="rId120" imgW="216" imgH="21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121"/>
                      <a:stretch>
                        <a:fillRect/>
                      </a:stretch>
                    </p:blipFill>
                    <p:spPr>
                      <a:xfrm>
                        <a:off x="1560887" y="968399"/>
                        <a:ext cx="1352" cy="13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1559532" y="967044"/>
            <a:ext cx="135220" cy="13522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52" b="1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15079" y="7131752"/>
            <a:ext cx="6464850" cy="197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4723" indent="-194723">
              <a:buAutoNum type="arabicPeriod"/>
              <a:defRPr/>
            </a:pPr>
            <a:r>
              <a:rPr lang="ru-RU" sz="681" spc="-34" dirty="0">
                <a:latin typeface="Calibri" pitchFamily="34" charset="0"/>
              </a:rPr>
              <a:t>Источник: фактические данные о численности учащихся  и учителей РФ за 2016-2020 гг. Министерства просвещения (edu.gov.ru) , прогноз на 2021-2023 –экспертная оценка Компании</a:t>
            </a:r>
            <a:r>
              <a:rPr lang="ru-RU" sz="681" spc="-34" dirty="0" smtClean="0">
                <a:latin typeface="Calibri" pitchFamily="34" charset="0"/>
              </a:rPr>
              <a:t>.</a:t>
            </a:r>
            <a:endParaRPr lang="ru-RU" sz="681" spc="-34" dirty="0">
              <a:latin typeface="Calibri" pitchFamily="34" charset="0"/>
            </a:endParaRPr>
          </a:p>
        </p:txBody>
      </p:sp>
      <p:graphicFrame>
        <p:nvGraphicFramePr>
          <p:cNvPr id="14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86989267"/>
              </p:ext>
            </p:extLst>
          </p:nvPr>
        </p:nvGraphicFramePr>
        <p:xfrm>
          <a:off x="747223" y="3105616"/>
          <a:ext cx="4801648" cy="27490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2"/>
          </a:graphicData>
        </a:graphic>
      </p:graphicFrame>
      <p:cxnSp>
        <p:nvCxnSpPr>
          <p:cNvPr id="15" name="Прямая соединительная линия 14"/>
          <p:cNvCxnSpPr/>
          <p:nvPr>
            <p:custDataLst>
              <p:tags r:id="rId5"/>
            </p:custDataLst>
          </p:nvPr>
        </p:nvCxnSpPr>
        <p:spPr bwMode="gray">
          <a:xfrm>
            <a:off x="1205617" y="3081274"/>
            <a:ext cx="743708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>
            <p:custDataLst>
              <p:tags r:id="rId6"/>
            </p:custDataLst>
          </p:nvPr>
        </p:nvCxnSpPr>
        <p:spPr bwMode="gray">
          <a:xfrm flipV="1">
            <a:off x="1205616" y="3081276"/>
            <a:ext cx="0" cy="193364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>
            <p:custDataLst>
              <p:tags r:id="rId7"/>
            </p:custDataLst>
          </p:nvPr>
        </p:nvCxnSpPr>
        <p:spPr bwMode="gray">
          <a:xfrm>
            <a:off x="1949324" y="3081275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>
            <p:custDataLst>
              <p:tags r:id="rId8"/>
            </p:custDataLst>
          </p:nvPr>
        </p:nvCxnSpPr>
        <p:spPr bwMode="gray">
          <a:xfrm flipV="1">
            <a:off x="2014229" y="3031245"/>
            <a:ext cx="0" cy="179842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>
            <p:custDataLst>
              <p:tags r:id="rId9"/>
            </p:custDataLst>
          </p:nvPr>
        </p:nvCxnSpPr>
        <p:spPr bwMode="gray">
          <a:xfrm>
            <a:off x="2014230" y="3031244"/>
            <a:ext cx="712608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>
            <p:custDataLst>
              <p:tags r:id="rId10"/>
            </p:custDataLst>
          </p:nvPr>
        </p:nvCxnSpPr>
        <p:spPr bwMode="gray">
          <a:xfrm>
            <a:off x="2726836" y="3031245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>
            <p:custDataLst>
              <p:tags r:id="rId11"/>
            </p:custDataLst>
          </p:nvPr>
        </p:nvCxnSpPr>
        <p:spPr bwMode="gray">
          <a:xfrm>
            <a:off x="2791745" y="2971747"/>
            <a:ext cx="711255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>
            <p:custDataLst>
              <p:tags r:id="rId12"/>
            </p:custDataLst>
          </p:nvPr>
        </p:nvCxnSpPr>
        <p:spPr bwMode="gray">
          <a:xfrm flipV="1">
            <a:off x="2791741" y="2971748"/>
            <a:ext cx="0" cy="189307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>
            <p:custDataLst>
              <p:tags r:id="rId13"/>
            </p:custDataLst>
          </p:nvPr>
        </p:nvCxnSpPr>
        <p:spPr bwMode="gray">
          <a:xfrm>
            <a:off x="3502996" y="2971749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>
            <p:custDataLst>
              <p:tags r:id="rId14"/>
            </p:custDataLst>
          </p:nvPr>
        </p:nvCxnSpPr>
        <p:spPr bwMode="gray">
          <a:xfrm>
            <a:off x="4280509" y="2906843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>
            <p:custDataLst>
              <p:tags r:id="rId15"/>
            </p:custDataLst>
          </p:nvPr>
        </p:nvCxnSpPr>
        <p:spPr bwMode="gray">
          <a:xfrm flipV="1">
            <a:off x="3567902" y="2906841"/>
            <a:ext cx="0" cy="194716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>
            <p:custDataLst>
              <p:tags r:id="rId16"/>
            </p:custDataLst>
          </p:nvPr>
        </p:nvCxnSpPr>
        <p:spPr bwMode="gray">
          <a:xfrm>
            <a:off x="3567904" y="2906842"/>
            <a:ext cx="712608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>
            <p:custDataLst>
              <p:tags r:id="rId17"/>
            </p:custDataLst>
          </p:nvPr>
        </p:nvCxnSpPr>
        <p:spPr bwMode="gray">
          <a:xfrm flipV="1">
            <a:off x="4345415" y="2862218"/>
            <a:ext cx="0" cy="174434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18"/>
            </p:custDataLst>
          </p:nvPr>
        </p:nvCxnSpPr>
        <p:spPr bwMode="gray">
          <a:xfrm>
            <a:off x="5089123" y="2862221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>
            <p:custDataLst>
              <p:tags r:id="rId19"/>
            </p:custDataLst>
          </p:nvPr>
        </p:nvCxnSpPr>
        <p:spPr bwMode="gray">
          <a:xfrm>
            <a:off x="4345417" y="2862219"/>
            <a:ext cx="743708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Текст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675453" y="4062970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B18A1CC-FB9B-4387-AE82-56BD9557ADA9}" type="datetime'''''''''''''''''7'''',''''''''''''''''''''''''''7'">
              <a:rPr lang="ru-RU" altLang="en-US" sz="852">
                <a:solidFill>
                  <a:schemeClr val="bg1"/>
                </a:solidFill>
              </a:rPr>
              <a:pPr/>
              <a:t>7,7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8" name="Текст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675453" y="3381464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011B2A-13FF-4861-9234-44249E6F4AD7}" type="datetime'''''''''''''''''''1'''',''''''''''''''''''''''4'''''''''''''''">
              <a:rPr lang="ru-RU" altLang="en-US" sz="852">
                <a:solidFill>
                  <a:schemeClr val="tx1"/>
                </a:solidFill>
              </a:rPr>
              <a:pPr/>
              <a:t>1,4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50" name="Текст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005287" y="5167715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E06F3A-83E6-4F9A-BF02-91A98E6F5B40}" type="datetime'''7'''''''''''''''',''''''4'''''''''''''''''">
              <a:rPr lang="ru-RU" altLang="en-US" sz="852">
                <a:solidFill>
                  <a:schemeClr val="bg1"/>
                </a:solidFill>
              </a:rPr>
              <a:pPr/>
              <a:t>7,4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41" name="Текст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451613" y="4022405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B6DB8AD-BDFD-4338-922A-9203EC8940E0}" type="datetime'8'''',''''''''1'''''''''''''''''''''">
              <a:rPr lang="ru-RU" altLang="en-US" sz="852">
                <a:solidFill>
                  <a:schemeClr val="bg1"/>
                </a:solidFill>
              </a:rPr>
              <a:pPr/>
              <a:t>8,1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9" name="Текст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643000" y="5820824"/>
            <a:ext cx="23257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9A0565A-B6AA-4B4C-8B9D-1839DCF18C94}" type="datetime'''''''''2''0''''''''''''''''''''2''0'''''''''''''''''''''">
              <a:rPr lang="ru-RU" altLang="en-US" sz="852">
                <a:solidFill>
                  <a:schemeClr val="tx1"/>
                </a:solidFill>
              </a:rPr>
              <a:pPr/>
              <a:t>2020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51" name="Текст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373187" y="5820824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0355D51-7FBD-47B5-969E-E81FC8D3F8B7}" type="datetime'''2''''''''0''''2''''''''''''''1'''''' ''''''П'''''''''''''">
              <a:rPr lang="ru-RU" altLang="en-US" sz="852">
                <a:solidFill>
                  <a:schemeClr val="tx1"/>
                </a:solidFill>
              </a:rPr>
              <a:pPr/>
              <a:t>2021 П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45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647060" y="3193509"/>
            <a:ext cx="224465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8B3C61-EC27-4DEE-AD95-723052FE18DC}" type="datetime'''''''''16'''''''''''',''''3'''''''''''''''''''''''''''">
              <a:rPr lang="ru-RU" altLang="en-US" sz="852" b="1">
                <a:solidFill>
                  <a:schemeClr val="tx1"/>
                </a:solidFill>
              </a:rPr>
              <a:pPr/>
              <a:t>16,3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46" name="Текст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229126" y="3257062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3B287FE-D382-4D47-B352-A5F8EF907E94}" type="datetime'''''''''''''1'''''''',''''''''4'''''''''''">
              <a:rPr lang="ru-RU" altLang="en-US" sz="852">
                <a:solidFill>
                  <a:schemeClr val="tx1"/>
                </a:solidFill>
              </a:rPr>
              <a:pPr/>
              <a:t>1,4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43" name="Текст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229126" y="5165010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4BEE1B-4F32-4423-A8CA-C56D8C48BF34}" type="datetime'''''''''''''''7'''''''''''',''''4'''''''''''''">
              <a:rPr lang="ru-RU" altLang="en-US" sz="852">
                <a:solidFill>
                  <a:schemeClr val="bg1"/>
                </a:solidFill>
              </a:rPr>
              <a:pPr/>
              <a:t>7,4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1" name="Текст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089327" y="5820824"/>
            <a:ext cx="23257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192B756-E8D8-460C-A20E-B31A9A109F14}" type="datetime'''''''''2''''''''''''''0''''''''''''1''''''8'">
              <a:rPr lang="ru-RU" altLang="en-US" sz="852">
                <a:solidFill>
                  <a:schemeClr val="tx1"/>
                </a:solidFill>
              </a:rPr>
              <a:pPr/>
              <a:t>2018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44" name="Текст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229126" y="3984542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2839FE-B52A-40F6-B1C4-A32B0C20312B}" type="datetime'''''''''''''''''''''''8'''',''''''4'''''">
              <a:rPr lang="ru-RU" altLang="en-US" sz="852">
                <a:solidFill>
                  <a:schemeClr val="bg1"/>
                </a:solidFill>
              </a:rPr>
              <a:pPr/>
              <a:t>8,4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48" name="Текст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005287" y="3969668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8B4C2E9-5152-4E81-A786-3FC045257E37}" type="datetime'''''''8'''''''''''''''''',''''''''''6'''''''''''''''''">
              <a:rPr lang="ru-RU" altLang="en-US" sz="852">
                <a:solidFill>
                  <a:schemeClr val="bg1"/>
                </a:solidFill>
              </a:rPr>
              <a:pPr/>
              <a:t>8,6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4" name="Текст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005287" y="3216496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055DA4-4FC2-4F33-B530-F3FF8B69869C}" type="datetime'''''''''1'',''''''''''4'''''">
              <a:rPr lang="ru-RU" altLang="en-US" sz="852">
                <a:solidFill>
                  <a:schemeClr val="tx1"/>
                </a:solidFill>
              </a:rPr>
              <a:pPr/>
              <a:t>1,4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49" name="Текст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926861" y="5820824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FAD3232-ED25-436B-98F3-16C302DC0159}" type="datetime'''''''''''''2''''02''''''3'''''''''''''' П'''''''''''''">
              <a:rPr lang="ru-RU" altLang="en-US" sz="852">
                <a:solidFill>
                  <a:schemeClr val="tx1"/>
                </a:solidFill>
              </a:rPr>
              <a:pPr/>
              <a:t>2023 П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54" name="Текст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200732" y="3069107"/>
            <a:ext cx="224465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18F0D64-B318-48E6-9740-20E966721D33}" type="datetime'17'''''',''''''''''''1'''''''''''''''''''''">
              <a:rPr lang="ru-RU" altLang="en-US" sz="852" b="1">
                <a:solidFill>
                  <a:schemeClr val="tx1"/>
                </a:solidFill>
              </a:rPr>
              <a:pPr/>
              <a:t>17,1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55" name="Текст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121780" y="4140045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20A851-2DA6-43E7-9137-85D8DF501B1B}" type="datetime'''''7'''''',''''''''''''''''''''''''''''3'''''''''''''''">
              <a:rPr lang="ru-RU" altLang="en-US" sz="852">
                <a:solidFill>
                  <a:schemeClr val="bg1"/>
                </a:solidFill>
              </a:rPr>
              <a:pPr/>
              <a:t>7,3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52" name="Текст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121780" y="5201518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E978EE-F4CA-48F3-A363-9082FB58E04D}" type="datetime'''6'''''''''''',''''''''''''''''''''''''''''9'''''''''''">
              <a:rPr lang="ru-RU" altLang="en-US" sz="852">
                <a:solidFill>
                  <a:schemeClr val="bg1"/>
                </a:solidFill>
              </a:rPr>
              <a:pPr/>
              <a:t>6,9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3" name="Текст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897941" y="3432846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08BD55-AB44-4875-A095-6CB1D939A541}" type="datetime'''''''''''''''''''''''1'''''''',4'''''''''''''''''''''''''''''">
              <a:rPr lang="ru-RU" altLang="en-US" sz="852">
                <a:solidFill>
                  <a:schemeClr val="tx1"/>
                </a:solidFill>
              </a:rPr>
              <a:pPr/>
              <a:t>1,4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59" name="Текст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121780" y="3495047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DDAE286-5AF1-4A5D-B1C8-072CCB236901}" type="datetime'''''''''''1'''''''''''''''''''''',''''''''4'">
              <a:rPr lang="ru-RU" altLang="en-US" sz="852">
                <a:solidFill>
                  <a:schemeClr val="tx1"/>
                </a:solidFill>
              </a:rPr>
              <a:pPr/>
              <a:t>1,4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40" name="Текст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451613" y="5171770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7F125B-E53D-475C-9EEC-24980C3C8580}" type="datetime'''''''''''7'',''''''''''''''''''''''''''''''''3'''''''''''''''">
              <a:rPr lang="ru-RU" altLang="en-US" sz="852">
                <a:solidFill>
                  <a:schemeClr val="bg1"/>
                </a:solidFill>
              </a:rPr>
              <a:pPr/>
              <a:t>7,3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5" name="Текст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865488" y="5820824"/>
            <a:ext cx="23257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FBF6D1-E4D8-4C37-A504-764113A4D679}" type="datetime'2''''''0''''''''''''''''''19'''''''''''''''''''''''''''''''''">
              <a:rPr lang="ru-RU" altLang="en-US" sz="852">
                <a:solidFill>
                  <a:schemeClr val="tx1"/>
                </a:solidFill>
              </a:rPr>
              <a:pPr/>
              <a:t>2019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2" name="Текст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897941" y="5187996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32DFD39-BFAA-4C34-9ACA-5B62FD87F860}" type="datetime'''''''''''7'''',''''1'''''''''''''''''''''''''''">
              <a:rPr lang="ru-RU" altLang="en-US" sz="852">
                <a:solidFill>
                  <a:schemeClr val="bg1"/>
                </a:solidFill>
              </a:rPr>
              <a:pPr/>
              <a:t>7,1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56" name="Текст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976893" y="3024483"/>
            <a:ext cx="224465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C7035D5-2082-43F7-878C-523B65754DEE}" type="datetime'''1''''''''''7'',''''''''''''''''''4'''">
              <a:rPr lang="ru-RU" altLang="en-US" sz="852" b="1">
                <a:solidFill>
                  <a:schemeClr val="tx1"/>
                </a:solidFill>
              </a:rPr>
              <a:pPr/>
              <a:t>17,4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42" name="Текст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451613" y="3319263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2D3995B-57AB-400C-8EA0-8219DBD3A25F}" type="datetime'''''''1'''''''''''',''''''''3'''''''''''''''''''''''''''">
              <a:rPr lang="ru-RU" altLang="en-US" sz="852">
                <a:solidFill>
                  <a:schemeClr val="tx1"/>
                </a:solidFill>
              </a:rPr>
              <a:pPr/>
              <a:t>1,3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57" name="Текст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897941" y="4096776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8E2A523-3FD7-4DDE-A40A-8555AC941BDD}" type="datetime'''7'''',''''''''''''''''''''''5'''''''''''''''''''''''''">
              <a:rPr lang="ru-RU" altLang="en-US" sz="852">
                <a:solidFill>
                  <a:schemeClr val="bg1"/>
                </a:solidFill>
              </a:rPr>
              <a:pPr/>
              <a:t>7,5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6" name="Текст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675453" y="5181237"/>
            <a:ext cx="167672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74D287-E10A-4121-B557-03B089BA4F89}" type="datetime'''''''''7'''',''''''''''''''''''''''2'''''''''''''''''''''''''">
              <a:rPr lang="ru-RU" altLang="en-US" sz="852">
                <a:solidFill>
                  <a:schemeClr val="bg1"/>
                </a:solidFill>
              </a:rPr>
              <a:pPr/>
              <a:t>7,2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53" name="Текст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93385" y="3307093"/>
            <a:ext cx="224465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79FE0CF-2612-4EA5-85FB-61412251EA44}" type="datetime'''''''1''''''''''''''''''''''''5'',''''5'''''''''''''">
              <a:rPr lang="ru-RU" altLang="en-US" sz="852" b="1">
                <a:solidFill>
                  <a:schemeClr val="tx1"/>
                </a:solidFill>
              </a:rPr>
              <a:pPr/>
              <a:t>15,5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60" name="Текст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869547" y="3243540"/>
            <a:ext cx="224465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AE01E42-A54E-45F0-80BC-7B48A92DE970}" type="datetime'''''''''''''''''''''16'''''',''''''''''''''0'">
              <a:rPr lang="ru-RU" altLang="en-US" sz="852" b="1">
                <a:solidFill>
                  <a:schemeClr val="tx1"/>
                </a:solidFill>
              </a:rPr>
              <a:pPr/>
              <a:t>16,0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58" name="Текст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423219" y="3134011"/>
            <a:ext cx="224465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95DE62-1F00-4CCB-9E3F-1B622C905C31}" type="datetime'''''''1''6'',''''''''''''''''''''''''''''7'''''''''">
              <a:rPr lang="ru-RU" altLang="en-US" sz="852" b="1">
                <a:solidFill>
                  <a:schemeClr val="tx1"/>
                </a:solidFill>
              </a:rPr>
              <a:pPr/>
              <a:t>16,7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47" name="Текст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150701" y="5820824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932CCD9-CD5C-462A-A602-C99BB52E666A}" type="datetime'''''2''0''''''2''''''''2'''''' ''''''''''''''''''''П'''''">
              <a:rPr lang="ru-RU" altLang="en-US" sz="852">
                <a:solidFill>
                  <a:schemeClr val="tx1"/>
                </a:solidFill>
              </a:rPr>
              <a:pPr/>
              <a:t>2022 П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61" name="Текст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459831" y="2998793"/>
            <a:ext cx="235282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C433B9-4D88-4DA1-8EF1-65D8209B76F0}" type="datetime'''''''''''''''''''+''''''''''''''''''3''''''%'''">
              <a:rPr lang="ru-RU" altLang="en-US" sz="767">
                <a:solidFill>
                  <a:schemeClr val="tx1"/>
                </a:solidFill>
              </a:rPr>
              <a:pPr/>
              <a:t>+3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62" name="Текст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2252219" y="2948761"/>
            <a:ext cx="235282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B9D96C-976D-4357-9B67-29D2CB570997}" type="datetime'''''''''''''''''''''''''''''''''''+''''''''''''2''''''''''''%'">
              <a:rPr lang="ru-RU" altLang="en-US" sz="767">
                <a:solidFill>
                  <a:schemeClr val="tx1"/>
                </a:solidFill>
              </a:rPr>
              <a:pPr/>
              <a:t>+2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63" name="Текст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029730" y="2889266"/>
            <a:ext cx="235282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D4AD959-C63D-4E52-B08B-D0627CFD98A2}" type="datetime'''''''''''''''+''''''''''''''''''''''''''''''''''2''''''%'">
              <a:rPr lang="ru-RU" altLang="en-US" sz="767">
                <a:solidFill>
                  <a:schemeClr val="tx1"/>
                </a:solidFill>
              </a:rPr>
              <a:pPr/>
              <a:t>+2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64" name="Текст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3805890" y="2824359"/>
            <a:ext cx="235282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4EABA5-0DE0-47EF-94B0-CA645DA92E08}" type="datetime'''+''''''''''3''''''''''''''''''''''''%'''''''''''''''">
              <a:rPr lang="ru-RU" altLang="en-US" sz="767">
                <a:solidFill>
                  <a:schemeClr val="tx1"/>
                </a:solidFill>
              </a:rPr>
              <a:pPr/>
              <a:t>+3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65" name="Текст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599631" y="2779737"/>
            <a:ext cx="235282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B82D766-C7FA-46F8-A7D8-DCD72A0E24EC}" type="datetime'''''''''''+''''2''''''''''%'''''''''''''''''''''''''''''''''''">
              <a:rPr lang="ru-RU" altLang="en-US" sz="767">
                <a:solidFill>
                  <a:schemeClr val="tx1"/>
                </a:solidFill>
              </a:rPr>
              <a:pPr/>
              <a:t>+2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67" name="Прямоугольник 66"/>
          <p:cNvSpPr/>
          <p:nvPr>
            <p:custDataLst>
              <p:tags r:id="rId55"/>
            </p:custDataLst>
          </p:nvPr>
        </p:nvSpPr>
        <p:spPr bwMode="auto">
          <a:xfrm>
            <a:off x="1985232" y="6110194"/>
            <a:ext cx="136572" cy="102767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56"/>
            </p:custDataLst>
          </p:nvPr>
        </p:nvSpPr>
        <p:spPr bwMode="auto">
          <a:xfrm>
            <a:off x="3485281" y="6110194"/>
            <a:ext cx="136572" cy="102767"/>
          </a:xfrm>
          <a:prstGeom prst="rect">
            <a:avLst/>
          </a:prstGeom>
          <a:solidFill>
            <a:srgbClr val="D2DEE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57"/>
            </p:custDataLst>
          </p:nvPr>
        </p:nvSpPr>
        <p:spPr bwMode="auto">
          <a:xfrm>
            <a:off x="2730508" y="6110194"/>
            <a:ext cx="136572" cy="102767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69" name="Текст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165078" y="6107492"/>
            <a:ext cx="435407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790DCF9-0294-4938-A693-43A8DDFD2CD5}" type="datetime'''1-4 ''''к''л''''''''''а''''сс''''ы'''''''''''''''''''">
              <a:rPr lang="ru-RU" altLang="en-US" sz="767">
                <a:solidFill>
                  <a:schemeClr val="tx1"/>
                </a:solidFill>
              </a:rPr>
              <a:pPr/>
              <a:t>1-4 классы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71" name="Текст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665127" y="6107492"/>
            <a:ext cx="532765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B9B5C12-0796-4A33-A3D6-54A7D2A6AAAD}" type="datetime'10''''''-''1''''1'''''' ''''''''кла''''''''сс''''''ы'''''''''">
              <a:rPr lang="ru-RU" altLang="en-US" sz="767">
                <a:solidFill>
                  <a:schemeClr val="tx1"/>
                </a:solidFill>
              </a:rPr>
              <a:pPr/>
              <a:t>10-11 классы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70" name="Текст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910353" y="6107492"/>
            <a:ext cx="435407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EB95F40-8EE3-42D6-8A9F-C8C2F2E7F794}" type="datetime'''''''''5-''''9'''''' ''''''кла''''''''с''''''''с''ы'''''''">
              <a:rPr lang="ru-RU" altLang="en-US" sz="767">
                <a:solidFill>
                  <a:schemeClr val="tx1"/>
                </a:solidFill>
              </a:rPr>
              <a:pPr/>
              <a:t>5-9 классы</a:t>
            </a:fld>
            <a:endParaRPr lang="ru-RU" sz="767" dirty="0">
              <a:solidFill>
                <a:schemeClr val="tx1"/>
              </a:solidFill>
            </a:endParaRPr>
          </a:p>
        </p:txBody>
      </p:sp>
      <p:grpSp>
        <p:nvGrpSpPr>
          <p:cNvPr id="72" name="Group 35">
            <a:extLst>
              <a:ext uri="{FF2B5EF4-FFF2-40B4-BE49-F238E27FC236}">
                <a16:creationId xmlns:a16="http://schemas.microsoft.com/office/drawing/2014/main" xmlns="" id="{39697A97-B9D3-442B-B6AE-DE5F11980E43}"/>
              </a:ext>
            </a:extLst>
          </p:cNvPr>
          <p:cNvGrpSpPr/>
          <p:nvPr/>
        </p:nvGrpSpPr>
        <p:grpSpPr>
          <a:xfrm>
            <a:off x="666255" y="2056238"/>
            <a:ext cx="486791" cy="271792"/>
            <a:chOff x="1127125" y="3494088"/>
            <a:chExt cx="1436688" cy="801687"/>
          </a:xfrm>
          <a:solidFill>
            <a:srgbClr val="9DB1CF"/>
          </a:solidFill>
        </p:grpSpPr>
        <p:sp>
          <p:nvSpPr>
            <p:cNvPr id="73" name="Freeform 78">
              <a:extLst>
                <a:ext uri="{FF2B5EF4-FFF2-40B4-BE49-F238E27FC236}">
                  <a16:creationId xmlns:a16="http://schemas.microsoft.com/office/drawing/2014/main" xmlns="" id="{81FE64C3-9A8F-4E97-92C8-FB523A9DB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3963" y="3494088"/>
              <a:ext cx="1057275" cy="650875"/>
            </a:xfrm>
            <a:custGeom>
              <a:avLst/>
              <a:gdLst/>
              <a:ahLst/>
              <a:cxnLst>
                <a:cxn ang="0">
                  <a:pos x="2665" y="961"/>
                </a:cxn>
                <a:cxn ang="0">
                  <a:pos x="2618" y="883"/>
                </a:cxn>
                <a:cxn ang="0">
                  <a:pos x="2426" y="844"/>
                </a:cxn>
                <a:cxn ang="0">
                  <a:pos x="2263" y="691"/>
                </a:cxn>
                <a:cxn ang="0">
                  <a:pos x="2324" y="573"/>
                </a:cxn>
                <a:cxn ang="0">
                  <a:pos x="2346" y="561"/>
                </a:cxn>
                <a:cxn ang="0">
                  <a:pos x="2381" y="371"/>
                </a:cxn>
                <a:cxn ang="0">
                  <a:pos x="2369" y="325"/>
                </a:cxn>
                <a:cxn ang="0">
                  <a:pos x="2351" y="199"/>
                </a:cxn>
                <a:cxn ang="0">
                  <a:pos x="2244" y="51"/>
                </a:cxn>
                <a:cxn ang="0">
                  <a:pos x="2164" y="20"/>
                </a:cxn>
                <a:cxn ang="0">
                  <a:pos x="2061" y="0"/>
                </a:cxn>
                <a:cxn ang="0">
                  <a:pos x="1942" y="29"/>
                </a:cxn>
                <a:cxn ang="0">
                  <a:pos x="1869" y="60"/>
                </a:cxn>
                <a:cxn ang="0">
                  <a:pos x="1790" y="187"/>
                </a:cxn>
                <a:cxn ang="0">
                  <a:pos x="1772" y="313"/>
                </a:cxn>
                <a:cxn ang="0">
                  <a:pos x="1760" y="367"/>
                </a:cxn>
                <a:cxn ang="0">
                  <a:pos x="1789" y="559"/>
                </a:cxn>
                <a:cxn ang="0">
                  <a:pos x="1807" y="544"/>
                </a:cxn>
                <a:cxn ang="0">
                  <a:pos x="1869" y="674"/>
                </a:cxn>
                <a:cxn ang="0">
                  <a:pos x="1709" y="848"/>
                </a:cxn>
                <a:cxn ang="0">
                  <a:pos x="1536" y="896"/>
                </a:cxn>
                <a:cxn ang="0">
                  <a:pos x="1348" y="848"/>
                </a:cxn>
                <a:cxn ang="0">
                  <a:pos x="1367" y="734"/>
                </a:cxn>
                <a:cxn ang="0">
                  <a:pos x="1411" y="659"/>
                </a:cxn>
                <a:cxn ang="0">
                  <a:pos x="1449" y="499"/>
                </a:cxn>
                <a:cxn ang="0">
                  <a:pos x="1437" y="479"/>
                </a:cxn>
                <a:cxn ang="0">
                  <a:pos x="1430" y="372"/>
                </a:cxn>
                <a:cxn ang="0">
                  <a:pos x="1354" y="223"/>
                </a:cxn>
                <a:cxn ang="0">
                  <a:pos x="1251" y="169"/>
                </a:cxn>
                <a:cxn ang="0">
                  <a:pos x="1141" y="150"/>
                </a:cxn>
                <a:cxn ang="0">
                  <a:pos x="1035" y="185"/>
                </a:cxn>
                <a:cxn ang="0">
                  <a:pos x="950" y="239"/>
                </a:cxn>
                <a:cxn ang="0">
                  <a:pos x="901" y="374"/>
                </a:cxn>
                <a:cxn ang="0">
                  <a:pos x="895" y="481"/>
                </a:cxn>
                <a:cxn ang="0">
                  <a:pos x="880" y="499"/>
                </a:cxn>
                <a:cxn ang="0">
                  <a:pos x="918" y="659"/>
                </a:cxn>
                <a:cxn ang="0">
                  <a:pos x="948" y="698"/>
                </a:cxn>
                <a:cxn ang="0">
                  <a:pos x="986" y="812"/>
                </a:cxn>
                <a:cxn ang="0">
                  <a:pos x="723" y="936"/>
                </a:cxn>
                <a:cxn ang="0">
                  <a:pos x="597" y="866"/>
                </a:cxn>
                <a:cxn ang="0">
                  <a:pos x="645" y="730"/>
                </a:cxn>
                <a:cxn ang="0">
                  <a:pos x="664" y="723"/>
                </a:cxn>
                <a:cxn ang="0">
                  <a:pos x="675" y="582"/>
                </a:cxn>
                <a:cxn ang="0">
                  <a:pos x="671" y="506"/>
                </a:cxn>
                <a:cxn ang="0">
                  <a:pos x="616" y="375"/>
                </a:cxn>
                <a:cxn ang="0">
                  <a:pos x="515" y="315"/>
                </a:cxn>
                <a:cxn ang="0">
                  <a:pos x="394" y="303"/>
                </a:cxn>
                <a:cxn ang="0">
                  <a:pos x="308" y="334"/>
                </a:cxn>
                <a:cxn ang="0">
                  <a:pos x="235" y="415"/>
                </a:cxn>
                <a:cxn ang="0">
                  <a:pos x="215" y="505"/>
                </a:cxn>
                <a:cxn ang="0">
                  <a:pos x="205" y="582"/>
                </a:cxn>
                <a:cxn ang="0">
                  <a:pos x="221" y="733"/>
                </a:cxn>
                <a:cxn ang="0">
                  <a:pos x="238" y="722"/>
                </a:cxn>
                <a:cxn ang="0">
                  <a:pos x="291" y="851"/>
                </a:cxn>
                <a:cxn ang="0">
                  <a:pos x="76" y="969"/>
                </a:cxn>
                <a:cxn ang="0">
                  <a:pos x="19" y="1004"/>
                </a:cxn>
                <a:cxn ang="0">
                  <a:pos x="0" y="1250"/>
                </a:cxn>
              </a:cxnLst>
              <a:rect l="0" t="0" r="r" b="b"/>
              <a:pathLst>
                <a:path w="2667" h="1640">
                  <a:moveTo>
                    <a:pt x="1060" y="1132"/>
                  </a:moveTo>
                  <a:lnTo>
                    <a:pt x="1060" y="1132"/>
                  </a:lnTo>
                  <a:lnTo>
                    <a:pt x="1790" y="1612"/>
                  </a:lnTo>
                  <a:lnTo>
                    <a:pt x="2667" y="1183"/>
                  </a:lnTo>
                  <a:lnTo>
                    <a:pt x="2667" y="987"/>
                  </a:lnTo>
                  <a:lnTo>
                    <a:pt x="2667" y="987"/>
                  </a:lnTo>
                  <a:lnTo>
                    <a:pt x="2667" y="974"/>
                  </a:lnTo>
                  <a:lnTo>
                    <a:pt x="2665" y="961"/>
                  </a:lnTo>
                  <a:lnTo>
                    <a:pt x="2661" y="949"/>
                  </a:lnTo>
                  <a:lnTo>
                    <a:pt x="2658" y="938"/>
                  </a:lnTo>
                  <a:lnTo>
                    <a:pt x="2653" y="927"/>
                  </a:lnTo>
                  <a:lnTo>
                    <a:pt x="2648" y="917"/>
                  </a:lnTo>
                  <a:lnTo>
                    <a:pt x="2642" y="907"/>
                  </a:lnTo>
                  <a:lnTo>
                    <a:pt x="2635" y="899"/>
                  </a:lnTo>
                  <a:lnTo>
                    <a:pt x="2627" y="890"/>
                  </a:lnTo>
                  <a:lnTo>
                    <a:pt x="2618" y="883"/>
                  </a:lnTo>
                  <a:lnTo>
                    <a:pt x="2609" y="877"/>
                  </a:lnTo>
                  <a:lnTo>
                    <a:pt x="2600" y="871"/>
                  </a:lnTo>
                  <a:lnTo>
                    <a:pt x="2590" y="867"/>
                  </a:lnTo>
                  <a:lnTo>
                    <a:pt x="2579" y="864"/>
                  </a:lnTo>
                  <a:lnTo>
                    <a:pt x="2568" y="862"/>
                  </a:lnTo>
                  <a:lnTo>
                    <a:pt x="2557" y="862"/>
                  </a:lnTo>
                  <a:lnTo>
                    <a:pt x="2426" y="844"/>
                  </a:lnTo>
                  <a:lnTo>
                    <a:pt x="2426" y="844"/>
                  </a:lnTo>
                  <a:lnTo>
                    <a:pt x="2272" y="773"/>
                  </a:lnTo>
                  <a:lnTo>
                    <a:pt x="2272" y="773"/>
                  </a:lnTo>
                  <a:lnTo>
                    <a:pt x="2272" y="771"/>
                  </a:lnTo>
                  <a:lnTo>
                    <a:pt x="2272" y="771"/>
                  </a:lnTo>
                  <a:lnTo>
                    <a:pt x="2271" y="749"/>
                  </a:lnTo>
                  <a:lnTo>
                    <a:pt x="2269" y="730"/>
                  </a:lnTo>
                  <a:lnTo>
                    <a:pt x="2267" y="709"/>
                  </a:lnTo>
                  <a:lnTo>
                    <a:pt x="2263" y="691"/>
                  </a:lnTo>
                  <a:lnTo>
                    <a:pt x="2263" y="691"/>
                  </a:lnTo>
                  <a:lnTo>
                    <a:pt x="2273" y="675"/>
                  </a:lnTo>
                  <a:lnTo>
                    <a:pt x="2282" y="660"/>
                  </a:lnTo>
                  <a:lnTo>
                    <a:pt x="2291" y="643"/>
                  </a:lnTo>
                  <a:lnTo>
                    <a:pt x="2301" y="627"/>
                  </a:lnTo>
                  <a:lnTo>
                    <a:pt x="2309" y="610"/>
                  </a:lnTo>
                  <a:lnTo>
                    <a:pt x="2317" y="591"/>
                  </a:lnTo>
                  <a:lnTo>
                    <a:pt x="2324" y="573"/>
                  </a:lnTo>
                  <a:lnTo>
                    <a:pt x="2331" y="553"/>
                  </a:lnTo>
                  <a:lnTo>
                    <a:pt x="2331" y="553"/>
                  </a:lnTo>
                  <a:lnTo>
                    <a:pt x="2335" y="558"/>
                  </a:lnTo>
                  <a:lnTo>
                    <a:pt x="2337" y="560"/>
                  </a:lnTo>
                  <a:lnTo>
                    <a:pt x="2341" y="561"/>
                  </a:lnTo>
                  <a:lnTo>
                    <a:pt x="2341" y="561"/>
                  </a:lnTo>
                  <a:lnTo>
                    <a:pt x="2343" y="561"/>
                  </a:lnTo>
                  <a:lnTo>
                    <a:pt x="2346" y="561"/>
                  </a:lnTo>
                  <a:lnTo>
                    <a:pt x="2348" y="559"/>
                  </a:lnTo>
                  <a:lnTo>
                    <a:pt x="2351" y="558"/>
                  </a:lnTo>
                  <a:lnTo>
                    <a:pt x="2354" y="553"/>
                  </a:lnTo>
                  <a:lnTo>
                    <a:pt x="2356" y="546"/>
                  </a:lnTo>
                  <a:lnTo>
                    <a:pt x="2383" y="385"/>
                  </a:lnTo>
                  <a:lnTo>
                    <a:pt x="2383" y="385"/>
                  </a:lnTo>
                  <a:lnTo>
                    <a:pt x="2383" y="378"/>
                  </a:lnTo>
                  <a:lnTo>
                    <a:pt x="2381" y="371"/>
                  </a:lnTo>
                  <a:lnTo>
                    <a:pt x="2377" y="367"/>
                  </a:lnTo>
                  <a:lnTo>
                    <a:pt x="2374" y="365"/>
                  </a:lnTo>
                  <a:lnTo>
                    <a:pt x="2372" y="364"/>
                  </a:lnTo>
                  <a:lnTo>
                    <a:pt x="2372" y="364"/>
                  </a:lnTo>
                  <a:lnTo>
                    <a:pt x="2369" y="364"/>
                  </a:lnTo>
                  <a:lnTo>
                    <a:pt x="2369" y="364"/>
                  </a:lnTo>
                  <a:lnTo>
                    <a:pt x="2370" y="344"/>
                  </a:lnTo>
                  <a:lnTo>
                    <a:pt x="2369" y="325"/>
                  </a:lnTo>
                  <a:lnTo>
                    <a:pt x="2368" y="306"/>
                  </a:lnTo>
                  <a:lnTo>
                    <a:pt x="2366" y="288"/>
                  </a:lnTo>
                  <a:lnTo>
                    <a:pt x="2366" y="289"/>
                  </a:lnTo>
                  <a:lnTo>
                    <a:pt x="2366" y="289"/>
                  </a:lnTo>
                  <a:lnTo>
                    <a:pt x="2365" y="266"/>
                  </a:lnTo>
                  <a:lnTo>
                    <a:pt x="2362" y="244"/>
                  </a:lnTo>
                  <a:lnTo>
                    <a:pt x="2358" y="222"/>
                  </a:lnTo>
                  <a:lnTo>
                    <a:pt x="2351" y="199"/>
                  </a:lnTo>
                  <a:lnTo>
                    <a:pt x="2343" y="177"/>
                  </a:lnTo>
                  <a:lnTo>
                    <a:pt x="2332" y="155"/>
                  </a:lnTo>
                  <a:lnTo>
                    <a:pt x="2321" y="135"/>
                  </a:lnTo>
                  <a:lnTo>
                    <a:pt x="2309" y="115"/>
                  </a:lnTo>
                  <a:lnTo>
                    <a:pt x="2294" y="97"/>
                  </a:lnTo>
                  <a:lnTo>
                    <a:pt x="2279" y="80"/>
                  </a:lnTo>
                  <a:lnTo>
                    <a:pt x="2263" y="64"/>
                  </a:lnTo>
                  <a:lnTo>
                    <a:pt x="2244" y="51"/>
                  </a:lnTo>
                  <a:lnTo>
                    <a:pt x="2226" y="40"/>
                  </a:lnTo>
                  <a:lnTo>
                    <a:pt x="2215" y="34"/>
                  </a:lnTo>
                  <a:lnTo>
                    <a:pt x="2206" y="30"/>
                  </a:lnTo>
                  <a:lnTo>
                    <a:pt x="2196" y="27"/>
                  </a:lnTo>
                  <a:lnTo>
                    <a:pt x="2186" y="24"/>
                  </a:lnTo>
                  <a:lnTo>
                    <a:pt x="2174" y="22"/>
                  </a:lnTo>
                  <a:lnTo>
                    <a:pt x="2164" y="20"/>
                  </a:lnTo>
                  <a:lnTo>
                    <a:pt x="2164" y="20"/>
                  </a:lnTo>
                  <a:lnTo>
                    <a:pt x="2151" y="15"/>
                  </a:lnTo>
                  <a:lnTo>
                    <a:pt x="2139" y="11"/>
                  </a:lnTo>
                  <a:lnTo>
                    <a:pt x="2125" y="8"/>
                  </a:lnTo>
                  <a:lnTo>
                    <a:pt x="2113" y="5"/>
                  </a:lnTo>
                  <a:lnTo>
                    <a:pt x="2100" y="3"/>
                  </a:lnTo>
                  <a:lnTo>
                    <a:pt x="2086" y="1"/>
                  </a:lnTo>
                  <a:lnTo>
                    <a:pt x="2073" y="0"/>
                  </a:lnTo>
                  <a:lnTo>
                    <a:pt x="2061" y="0"/>
                  </a:lnTo>
                  <a:lnTo>
                    <a:pt x="2061" y="0"/>
                  </a:lnTo>
                  <a:lnTo>
                    <a:pt x="2042" y="0"/>
                  </a:lnTo>
                  <a:lnTo>
                    <a:pt x="2025" y="2"/>
                  </a:lnTo>
                  <a:lnTo>
                    <a:pt x="2008" y="5"/>
                  </a:lnTo>
                  <a:lnTo>
                    <a:pt x="1991" y="10"/>
                  </a:lnTo>
                  <a:lnTo>
                    <a:pt x="1975" y="15"/>
                  </a:lnTo>
                  <a:lnTo>
                    <a:pt x="1958" y="22"/>
                  </a:lnTo>
                  <a:lnTo>
                    <a:pt x="1942" y="29"/>
                  </a:lnTo>
                  <a:lnTo>
                    <a:pt x="1926" y="39"/>
                  </a:lnTo>
                  <a:lnTo>
                    <a:pt x="1926" y="39"/>
                  </a:lnTo>
                  <a:lnTo>
                    <a:pt x="1919" y="39"/>
                  </a:lnTo>
                  <a:lnTo>
                    <a:pt x="1912" y="40"/>
                  </a:lnTo>
                  <a:lnTo>
                    <a:pt x="1905" y="42"/>
                  </a:lnTo>
                  <a:lnTo>
                    <a:pt x="1898" y="44"/>
                  </a:lnTo>
                  <a:lnTo>
                    <a:pt x="1883" y="51"/>
                  </a:lnTo>
                  <a:lnTo>
                    <a:pt x="1869" y="60"/>
                  </a:lnTo>
                  <a:lnTo>
                    <a:pt x="1857" y="70"/>
                  </a:lnTo>
                  <a:lnTo>
                    <a:pt x="1844" y="84"/>
                  </a:lnTo>
                  <a:lnTo>
                    <a:pt x="1833" y="98"/>
                  </a:lnTo>
                  <a:lnTo>
                    <a:pt x="1822" y="114"/>
                  </a:lnTo>
                  <a:lnTo>
                    <a:pt x="1813" y="131"/>
                  </a:lnTo>
                  <a:lnTo>
                    <a:pt x="1803" y="149"/>
                  </a:lnTo>
                  <a:lnTo>
                    <a:pt x="1796" y="168"/>
                  </a:lnTo>
                  <a:lnTo>
                    <a:pt x="1790" y="187"/>
                  </a:lnTo>
                  <a:lnTo>
                    <a:pt x="1785" y="207"/>
                  </a:lnTo>
                  <a:lnTo>
                    <a:pt x="1781" y="227"/>
                  </a:lnTo>
                  <a:lnTo>
                    <a:pt x="1779" y="247"/>
                  </a:lnTo>
                  <a:lnTo>
                    <a:pt x="1778" y="266"/>
                  </a:lnTo>
                  <a:lnTo>
                    <a:pt x="1778" y="265"/>
                  </a:lnTo>
                  <a:lnTo>
                    <a:pt x="1778" y="265"/>
                  </a:lnTo>
                  <a:lnTo>
                    <a:pt x="1775" y="289"/>
                  </a:lnTo>
                  <a:lnTo>
                    <a:pt x="1772" y="313"/>
                  </a:lnTo>
                  <a:lnTo>
                    <a:pt x="1772" y="339"/>
                  </a:lnTo>
                  <a:lnTo>
                    <a:pt x="1772" y="365"/>
                  </a:lnTo>
                  <a:lnTo>
                    <a:pt x="1772" y="365"/>
                  </a:lnTo>
                  <a:lnTo>
                    <a:pt x="1768" y="364"/>
                  </a:lnTo>
                  <a:lnTo>
                    <a:pt x="1764" y="364"/>
                  </a:lnTo>
                  <a:lnTo>
                    <a:pt x="1764" y="364"/>
                  </a:lnTo>
                  <a:lnTo>
                    <a:pt x="1762" y="365"/>
                  </a:lnTo>
                  <a:lnTo>
                    <a:pt x="1760" y="367"/>
                  </a:lnTo>
                  <a:lnTo>
                    <a:pt x="1756" y="371"/>
                  </a:lnTo>
                  <a:lnTo>
                    <a:pt x="1754" y="378"/>
                  </a:lnTo>
                  <a:lnTo>
                    <a:pt x="1754" y="385"/>
                  </a:lnTo>
                  <a:lnTo>
                    <a:pt x="1781" y="547"/>
                  </a:lnTo>
                  <a:lnTo>
                    <a:pt x="1781" y="547"/>
                  </a:lnTo>
                  <a:lnTo>
                    <a:pt x="1783" y="553"/>
                  </a:lnTo>
                  <a:lnTo>
                    <a:pt x="1787" y="558"/>
                  </a:lnTo>
                  <a:lnTo>
                    <a:pt x="1789" y="559"/>
                  </a:lnTo>
                  <a:lnTo>
                    <a:pt x="1791" y="561"/>
                  </a:lnTo>
                  <a:lnTo>
                    <a:pt x="1794" y="561"/>
                  </a:lnTo>
                  <a:lnTo>
                    <a:pt x="1797" y="561"/>
                  </a:lnTo>
                  <a:lnTo>
                    <a:pt x="1797" y="561"/>
                  </a:lnTo>
                  <a:lnTo>
                    <a:pt x="1801" y="559"/>
                  </a:lnTo>
                  <a:lnTo>
                    <a:pt x="1804" y="555"/>
                  </a:lnTo>
                  <a:lnTo>
                    <a:pt x="1806" y="550"/>
                  </a:lnTo>
                  <a:lnTo>
                    <a:pt x="1807" y="544"/>
                  </a:lnTo>
                  <a:lnTo>
                    <a:pt x="1807" y="544"/>
                  </a:lnTo>
                  <a:lnTo>
                    <a:pt x="1815" y="564"/>
                  </a:lnTo>
                  <a:lnTo>
                    <a:pt x="1823" y="585"/>
                  </a:lnTo>
                  <a:lnTo>
                    <a:pt x="1831" y="604"/>
                  </a:lnTo>
                  <a:lnTo>
                    <a:pt x="1839" y="623"/>
                  </a:lnTo>
                  <a:lnTo>
                    <a:pt x="1848" y="640"/>
                  </a:lnTo>
                  <a:lnTo>
                    <a:pt x="1859" y="658"/>
                  </a:lnTo>
                  <a:lnTo>
                    <a:pt x="1869" y="674"/>
                  </a:lnTo>
                  <a:lnTo>
                    <a:pt x="1880" y="690"/>
                  </a:lnTo>
                  <a:lnTo>
                    <a:pt x="1880" y="690"/>
                  </a:lnTo>
                  <a:lnTo>
                    <a:pt x="1876" y="710"/>
                  </a:lnTo>
                  <a:lnTo>
                    <a:pt x="1873" y="731"/>
                  </a:lnTo>
                  <a:lnTo>
                    <a:pt x="1871" y="751"/>
                  </a:lnTo>
                  <a:lnTo>
                    <a:pt x="1870" y="773"/>
                  </a:lnTo>
                  <a:lnTo>
                    <a:pt x="1870" y="773"/>
                  </a:lnTo>
                  <a:lnTo>
                    <a:pt x="1709" y="848"/>
                  </a:lnTo>
                  <a:lnTo>
                    <a:pt x="1611" y="862"/>
                  </a:lnTo>
                  <a:lnTo>
                    <a:pt x="1611" y="862"/>
                  </a:lnTo>
                  <a:lnTo>
                    <a:pt x="1596" y="863"/>
                  </a:lnTo>
                  <a:lnTo>
                    <a:pt x="1583" y="866"/>
                  </a:lnTo>
                  <a:lnTo>
                    <a:pt x="1570" y="871"/>
                  </a:lnTo>
                  <a:lnTo>
                    <a:pt x="1557" y="877"/>
                  </a:lnTo>
                  <a:lnTo>
                    <a:pt x="1546" y="885"/>
                  </a:lnTo>
                  <a:lnTo>
                    <a:pt x="1536" y="896"/>
                  </a:lnTo>
                  <a:lnTo>
                    <a:pt x="1527" y="907"/>
                  </a:lnTo>
                  <a:lnTo>
                    <a:pt x="1518" y="919"/>
                  </a:lnTo>
                  <a:lnTo>
                    <a:pt x="1488" y="915"/>
                  </a:lnTo>
                  <a:lnTo>
                    <a:pt x="1488" y="915"/>
                  </a:lnTo>
                  <a:lnTo>
                    <a:pt x="1348" y="851"/>
                  </a:lnTo>
                  <a:lnTo>
                    <a:pt x="1348" y="851"/>
                  </a:lnTo>
                  <a:lnTo>
                    <a:pt x="1348" y="848"/>
                  </a:lnTo>
                  <a:lnTo>
                    <a:pt x="1348" y="848"/>
                  </a:lnTo>
                  <a:lnTo>
                    <a:pt x="1348" y="830"/>
                  </a:lnTo>
                  <a:lnTo>
                    <a:pt x="1346" y="812"/>
                  </a:lnTo>
                  <a:lnTo>
                    <a:pt x="1343" y="793"/>
                  </a:lnTo>
                  <a:lnTo>
                    <a:pt x="1340" y="776"/>
                  </a:lnTo>
                  <a:lnTo>
                    <a:pt x="1340" y="776"/>
                  </a:lnTo>
                  <a:lnTo>
                    <a:pt x="1349" y="762"/>
                  </a:lnTo>
                  <a:lnTo>
                    <a:pt x="1358" y="749"/>
                  </a:lnTo>
                  <a:lnTo>
                    <a:pt x="1367" y="734"/>
                  </a:lnTo>
                  <a:lnTo>
                    <a:pt x="1375" y="718"/>
                  </a:lnTo>
                  <a:lnTo>
                    <a:pt x="1382" y="703"/>
                  </a:lnTo>
                  <a:lnTo>
                    <a:pt x="1389" y="686"/>
                  </a:lnTo>
                  <a:lnTo>
                    <a:pt x="1402" y="653"/>
                  </a:lnTo>
                  <a:lnTo>
                    <a:pt x="1402" y="653"/>
                  </a:lnTo>
                  <a:lnTo>
                    <a:pt x="1406" y="657"/>
                  </a:lnTo>
                  <a:lnTo>
                    <a:pt x="1408" y="658"/>
                  </a:lnTo>
                  <a:lnTo>
                    <a:pt x="1411" y="659"/>
                  </a:lnTo>
                  <a:lnTo>
                    <a:pt x="1411" y="659"/>
                  </a:lnTo>
                  <a:lnTo>
                    <a:pt x="1413" y="659"/>
                  </a:lnTo>
                  <a:lnTo>
                    <a:pt x="1415" y="659"/>
                  </a:lnTo>
                  <a:lnTo>
                    <a:pt x="1420" y="656"/>
                  </a:lnTo>
                  <a:lnTo>
                    <a:pt x="1423" y="652"/>
                  </a:lnTo>
                  <a:lnTo>
                    <a:pt x="1425" y="645"/>
                  </a:lnTo>
                  <a:lnTo>
                    <a:pt x="1449" y="499"/>
                  </a:lnTo>
                  <a:lnTo>
                    <a:pt x="1449" y="499"/>
                  </a:lnTo>
                  <a:lnTo>
                    <a:pt x="1449" y="493"/>
                  </a:lnTo>
                  <a:lnTo>
                    <a:pt x="1448" y="487"/>
                  </a:lnTo>
                  <a:lnTo>
                    <a:pt x="1443" y="482"/>
                  </a:lnTo>
                  <a:lnTo>
                    <a:pt x="1441" y="481"/>
                  </a:lnTo>
                  <a:lnTo>
                    <a:pt x="1439" y="480"/>
                  </a:lnTo>
                  <a:lnTo>
                    <a:pt x="1439" y="480"/>
                  </a:lnTo>
                  <a:lnTo>
                    <a:pt x="1437" y="479"/>
                  </a:lnTo>
                  <a:lnTo>
                    <a:pt x="1437" y="479"/>
                  </a:lnTo>
                  <a:lnTo>
                    <a:pt x="1437" y="462"/>
                  </a:lnTo>
                  <a:lnTo>
                    <a:pt x="1437" y="445"/>
                  </a:lnTo>
                  <a:lnTo>
                    <a:pt x="1435" y="428"/>
                  </a:lnTo>
                  <a:lnTo>
                    <a:pt x="1433" y="411"/>
                  </a:lnTo>
                  <a:lnTo>
                    <a:pt x="1434" y="412"/>
                  </a:lnTo>
                  <a:lnTo>
                    <a:pt x="1434" y="412"/>
                  </a:lnTo>
                  <a:lnTo>
                    <a:pt x="1433" y="392"/>
                  </a:lnTo>
                  <a:lnTo>
                    <a:pt x="1430" y="372"/>
                  </a:lnTo>
                  <a:lnTo>
                    <a:pt x="1426" y="351"/>
                  </a:lnTo>
                  <a:lnTo>
                    <a:pt x="1420" y="331"/>
                  </a:lnTo>
                  <a:lnTo>
                    <a:pt x="1413" y="311"/>
                  </a:lnTo>
                  <a:lnTo>
                    <a:pt x="1403" y="292"/>
                  </a:lnTo>
                  <a:lnTo>
                    <a:pt x="1393" y="273"/>
                  </a:lnTo>
                  <a:lnTo>
                    <a:pt x="1382" y="255"/>
                  </a:lnTo>
                  <a:lnTo>
                    <a:pt x="1369" y="238"/>
                  </a:lnTo>
                  <a:lnTo>
                    <a:pt x="1354" y="223"/>
                  </a:lnTo>
                  <a:lnTo>
                    <a:pt x="1340" y="209"/>
                  </a:lnTo>
                  <a:lnTo>
                    <a:pt x="1324" y="196"/>
                  </a:lnTo>
                  <a:lnTo>
                    <a:pt x="1306" y="186"/>
                  </a:lnTo>
                  <a:lnTo>
                    <a:pt x="1289" y="178"/>
                  </a:lnTo>
                  <a:lnTo>
                    <a:pt x="1279" y="175"/>
                  </a:lnTo>
                  <a:lnTo>
                    <a:pt x="1270" y="172"/>
                  </a:lnTo>
                  <a:lnTo>
                    <a:pt x="1260" y="170"/>
                  </a:lnTo>
                  <a:lnTo>
                    <a:pt x="1251" y="169"/>
                  </a:lnTo>
                  <a:lnTo>
                    <a:pt x="1251" y="169"/>
                  </a:lnTo>
                  <a:lnTo>
                    <a:pt x="1227" y="161"/>
                  </a:lnTo>
                  <a:lnTo>
                    <a:pt x="1204" y="154"/>
                  </a:lnTo>
                  <a:lnTo>
                    <a:pt x="1180" y="151"/>
                  </a:lnTo>
                  <a:lnTo>
                    <a:pt x="1169" y="150"/>
                  </a:lnTo>
                  <a:lnTo>
                    <a:pt x="1156" y="149"/>
                  </a:lnTo>
                  <a:lnTo>
                    <a:pt x="1156" y="149"/>
                  </a:lnTo>
                  <a:lnTo>
                    <a:pt x="1141" y="150"/>
                  </a:lnTo>
                  <a:lnTo>
                    <a:pt x="1125" y="152"/>
                  </a:lnTo>
                  <a:lnTo>
                    <a:pt x="1109" y="155"/>
                  </a:lnTo>
                  <a:lnTo>
                    <a:pt x="1094" y="158"/>
                  </a:lnTo>
                  <a:lnTo>
                    <a:pt x="1078" y="164"/>
                  </a:lnTo>
                  <a:lnTo>
                    <a:pt x="1064" y="170"/>
                  </a:lnTo>
                  <a:lnTo>
                    <a:pt x="1050" y="177"/>
                  </a:lnTo>
                  <a:lnTo>
                    <a:pt x="1035" y="185"/>
                  </a:lnTo>
                  <a:lnTo>
                    <a:pt x="1035" y="185"/>
                  </a:lnTo>
                  <a:lnTo>
                    <a:pt x="1029" y="186"/>
                  </a:lnTo>
                  <a:lnTo>
                    <a:pt x="1022" y="187"/>
                  </a:lnTo>
                  <a:lnTo>
                    <a:pt x="1009" y="190"/>
                  </a:lnTo>
                  <a:lnTo>
                    <a:pt x="996" y="196"/>
                  </a:lnTo>
                  <a:lnTo>
                    <a:pt x="984" y="205"/>
                  </a:lnTo>
                  <a:lnTo>
                    <a:pt x="972" y="215"/>
                  </a:lnTo>
                  <a:lnTo>
                    <a:pt x="961" y="226"/>
                  </a:lnTo>
                  <a:lnTo>
                    <a:pt x="950" y="239"/>
                  </a:lnTo>
                  <a:lnTo>
                    <a:pt x="941" y="254"/>
                  </a:lnTo>
                  <a:lnTo>
                    <a:pt x="932" y="269"/>
                  </a:lnTo>
                  <a:lnTo>
                    <a:pt x="925" y="286"/>
                  </a:lnTo>
                  <a:lnTo>
                    <a:pt x="918" y="303"/>
                  </a:lnTo>
                  <a:lnTo>
                    <a:pt x="911" y="320"/>
                  </a:lnTo>
                  <a:lnTo>
                    <a:pt x="907" y="338"/>
                  </a:lnTo>
                  <a:lnTo>
                    <a:pt x="903" y="356"/>
                  </a:lnTo>
                  <a:lnTo>
                    <a:pt x="901" y="374"/>
                  </a:lnTo>
                  <a:lnTo>
                    <a:pt x="901" y="391"/>
                  </a:lnTo>
                  <a:lnTo>
                    <a:pt x="901" y="391"/>
                  </a:lnTo>
                  <a:lnTo>
                    <a:pt x="901" y="391"/>
                  </a:lnTo>
                  <a:lnTo>
                    <a:pt x="897" y="413"/>
                  </a:lnTo>
                  <a:lnTo>
                    <a:pt x="895" y="435"/>
                  </a:lnTo>
                  <a:lnTo>
                    <a:pt x="895" y="458"/>
                  </a:lnTo>
                  <a:lnTo>
                    <a:pt x="895" y="481"/>
                  </a:lnTo>
                  <a:lnTo>
                    <a:pt x="895" y="481"/>
                  </a:lnTo>
                  <a:lnTo>
                    <a:pt x="892" y="480"/>
                  </a:lnTo>
                  <a:lnTo>
                    <a:pt x="889" y="480"/>
                  </a:lnTo>
                  <a:lnTo>
                    <a:pt x="889" y="480"/>
                  </a:lnTo>
                  <a:lnTo>
                    <a:pt x="887" y="481"/>
                  </a:lnTo>
                  <a:lnTo>
                    <a:pt x="885" y="482"/>
                  </a:lnTo>
                  <a:lnTo>
                    <a:pt x="881" y="487"/>
                  </a:lnTo>
                  <a:lnTo>
                    <a:pt x="880" y="493"/>
                  </a:lnTo>
                  <a:lnTo>
                    <a:pt x="880" y="499"/>
                  </a:lnTo>
                  <a:lnTo>
                    <a:pt x="903" y="645"/>
                  </a:lnTo>
                  <a:lnTo>
                    <a:pt x="903" y="645"/>
                  </a:lnTo>
                  <a:lnTo>
                    <a:pt x="905" y="652"/>
                  </a:lnTo>
                  <a:lnTo>
                    <a:pt x="908" y="656"/>
                  </a:lnTo>
                  <a:lnTo>
                    <a:pt x="913" y="659"/>
                  </a:lnTo>
                  <a:lnTo>
                    <a:pt x="915" y="659"/>
                  </a:lnTo>
                  <a:lnTo>
                    <a:pt x="918" y="659"/>
                  </a:lnTo>
                  <a:lnTo>
                    <a:pt x="918" y="659"/>
                  </a:lnTo>
                  <a:lnTo>
                    <a:pt x="922" y="657"/>
                  </a:lnTo>
                  <a:lnTo>
                    <a:pt x="925" y="654"/>
                  </a:lnTo>
                  <a:lnTo>
                    <a:pt x="927" y="649"/>
                  </a:lnTo>
                  <a:lnTo>
                    <a:pt x="928" y="643"/>
                  </a:lnTo>
                  <a:lnTo>
                    <a:pt x="928" y="643"/>
                  </a:lnTo>
                  <a:lnTo>
                    <a:pt x="934" y="662"/>
                  </a:lnTo>
                  <a:lnTo>
                    <a:pt x="941" y="680"/>
                  </a:lnTo>
                  <a:lnTo>
                    <a:pt x="948" y="698"/>
                  </a:lnTo>
                  <a:lnTo>
                    <a:pt x="956" y="715"/>
                  </a:lnTo>
                  <a:lnTo>
                    <a:pt x="965" y="732"/>
                  </a:lnTo>
                  <a:lnTo>
                    <a:pt x="974" y="747"/>
                  </a:lnTo>
                  <a:lnTo>
                    <a:pt x="983" y="761"/>
                  </a:lnTo>
                  <a:lnTo>
                    <a:pt x="993" y="776"/>
                  </a:lnTo>
                  <a:lnTo>
                    <a:pt x="993" y="776"/>
                  </a:lnTo>
                  <a:lnTo>
                    <a:pt x="989" y="794"/>
                  </a:lnTo>
                  <a:lnTo>
                    <a:pt x="986" y="812"/>
                  </a:lnTo>
                  <a:lnTo>
                    <a:pt x="985" y="831"/>
                  </a:lnTo>
                  <a:lnTo>
                    <a:pt x="984" y="851"/>
                  </a:lnTo>
                  <a:lnTo>
                    <a:pt x="984" y="851"/>
                  </a:lnTo>
                  <a:lnTo>
                    <a:pt x="839" y="919"/>
                  </a:lnTo>
                  <a:lnTo>
                    <a:pt x="749" y="931"/>
                  </a:lnTo>
                  <a:lnTo>
                    <a:pt x="749" y="931"/>
                  </a:lnTo>
                  <a:lnTo>
                    <a:pt x="736" y="933"/>
                  </a:lnTo>
                  <a:lnTo>
                    <a:pt x="723" y="936"/>
                  </a:lnTo>
                  <a:lnTo>
                    <a:pt x="711" y="940"/>
                  </a:lnTo>
                  <a:lnTo>
                    <a:pt x="700" y="946"/>
                  </a:lnTo>
                  <a:lnTo>
                    <a:pt x="599" y="900"/>
                  </a:lnTo>
                  <a:lnTo>
                    <a:pt x="599" y="900"/>
                  </a:lnTo>
                  <a:lnTo>
                    <a:pt x="599" y="898"/>
                  </a:lnTo>
                  <a:lnTo>
                    <a:pt x="599" y="898"/>
                  </a:lnTo>
                  <a:lnTo>
                    <a:pt x="599" y="881"/>
                  </a:lnTo>
                  <a:lnTo>
                    <a:pt x="597" y="866"/>
                  </a:lnTo>
                  <a:lnTo>
                    <a:pt x="595" y="851"/>
                  </a:lnTo>
                  <a:lnTo>
                    <a:pt x="591" y="835"/>
                  </a:lnTo>
                  <a:lnTo>
                    <a:pt x="591" y="835"/>
                  </a:lnTo>
                  <a:lnTo>
                    <a:pt x="600" y="824"/>
                  </a:lnTo>
                  <a:lnTo>
                    <a:pt x="607" y="812"/>
                  </a:lnTo>
                  <a:lnTo>
                    <a:pt x="621" y="786"/>
                  </a:lnTo>
                  <a:lnTo>
                    <a:pt x="634" y="759"/>
                  </a:lnTo>
                  <a:lnTo>
                    <a:pt x="645" y="730"/>
                  </a:lnTo>
                  <a:lnTo>
                    <a:pt x="645" y="730"/>
                  </a:lnTo>
                  <a:lnTo>
                    <a:pt x="648" y="733"/>
                  </a:lnTo>
                  <a:lnTo>
                    <a:pt x="652" y="735"/>
                  </a:lnTo>
                  <a:lnTo>
                    <a:pt x="652" y="735"/>
                  </a:lnTo>
                  <a:lnTo>
                    <a:pt x="656" y="735"/>
                  </a:lnTo>
                  <a:lnTo>
                    <a:pt x="660" y="733"/>
                  </a:lnTo>
                  <a:lnTo>
                    <a:pt x="662" y="729"/>
                  </a:lnTo>
                  <a:lnTo>
                    <a:pt x="664" y="723"/>
                  </a:lnTo>
                  <a:lnTo>
                    <a:pt x="685" y="598"/>
                  </a:lnTo>
                  <a:lnTo>
                    <a:pt x="685" y="598"/>
                  </a:lnTo>
                  <a:lnTo>
                    <a:pt x="685" y="592"/>
                  </a:lnTo>
                  <a:lnTo>
                    <a:pt x="684" y="587"/>
                  </a:lnTo>
                  <a:lnTo>
                    <a:pt x="681" y="584"/>
                  </a:lnTo>
                  <a:lnTo>
                    <a:pt x="677" y="582"/>
                  </a:lnTo>
                  <a:lnTo>
                    <a:pt x="677" y="582"/>
                  </a:lnTo>
                  <a:lnTo>
                    <a:pt x="675" y="582"/>
                  </a:lnTo>
                  <a:lnTo>
                    <a:pt x="675" y="582"/>
                  </a:lnTo>
                  <a:lnTo>
                    <a:pt x="676" y="567"/>
                  </a:lnTo>
                  <a:lnTo>
                    <a:pt x="675" y="551"/>
                  </a:lnTo>
                  <a:lnTo>
                    <a:pt x="674" y="537"/>
                  </a:lnTo>
                  <a:lnTo>
                    <a:pt x="671" y="522"/>
                  </a:lnTo>
                  <a:lnTo>
                    <a:pt x="672" y="523"/>
                  </a:lnTo>
                  <a:lnTo>
                    <a:pt x="672" y="523"/>
                  </a:lnTo>
                  <a:lnTo>
                    <a:pt x="671" y="506"/>
                  </a:lnTo>
                  <a:lnTo>
                    <a:pt x="669" y="489"/>
                  </a:lnTo>
                  <a:lnTo>
                    <a:pt x="665" y="471"/>
                  </a:lnTo>
                  <a:lnTo>
                    <a:pt x="660" y="454"/>
                  </a:lnTo>
                  <a:lnTo>
                    <a:pt x="654" y="437"/>
                  </a:lnTo>
                  <a:lnTo>
                    <a:pt x="646" y="420"/>
                  </a:lnTo>
                  <a:lnTo>
                    <a:pt x="638" y="405"/>
                  </a:lnTo>
                  <a:lnTo>
                    <a:pt x="627" y="389"/>
                  </a:lnTo>
                  <a:lnTo>
                    <a:pt x="616" y="375"/>
                  </a:lnTo>
                  <a:lnTo>
                    <a:pt x="604" y="361"/>
                  </a:lnTo>
                  <a:lnTo>
                    <a:pt x="591" y="349"/>
                  </a:lnTo>
                  <a:lnTo>
                    <a:pt x="577" y="339"/>
                  </a:lnTo>
                  <a:lnTo>
                    <a:pt x="563" y="330"/>
                  </a:lnTo>
                  <a:lnTo>
                    <a:pt x="547" y="323"/>
                  </a:lnTo>
                  <a:lnTo>
                    <a:pt x="531" y="317"/>
                  </a:lnTo>
                  <a:lnTo>
                    <a:pt x="515" y="315"/>
                  </a:lnTo>
                  <a:lnTo>
                    <a:pt x="515" y="315"/>
                  </a:lnTo>
                  <a:lnTo>
                    <a:pt x="495" y="308"/>
                  </a:lnTo>
                  <a:lnTo>
                    <a:pt x="475" y="303"/>
                  </a:lnTo>
                  <a:lnTo>
                    <a:pt x="455" y="300"/>
                  </a:lnTo>
                  <a:lnTo>
                    <a:pt x="435" y="299"/>
                  </a:lnTo>
                  <a:lnTo>
                    <a:pt x="435" y="299"/>
                  </a:lnTo>
                  <a:lnTo>
                    <a:pt x="420" y="299"/>
                  </a:lnTo>
                  <a:lnTo>
                    <a:pt x="407" y="301"/>
                  </a:lnTo>
                  <a:lnTo>
                    <a:pt x="394" y="303"/>
                  </a:lnTo>
                  <a:lnTo>
                    <a:pt x="380" y="306"/>
                  </a:lnTo>
                  <a:lnTo>
                    <a:pt x="368" y="311"/>
                  </a:lnTo>
                  <a:lnTo>
                    <a:pt x="355" y="316"/>
                  </a:lnTo>
                  <a:lnTo>
                    <a:pt x="342" y="323"/>
                  </a:lnTo>
                  <a:lnTo>
                    <a:pt x="331" y="329"/>
                  </a:lnTo>
                  <a:lnTo>
                    <a:pt x="331" y="329"/>
                  </a:lnTo>
                  <a:lnTo>
                    <a:pt x="319" y="331"/>
                  </a:lnTo>
                  <a:lnTo>
                    <a:pt x="308" y="334"/>
                  </a:lnTo>
                  <a:lnTo>
                    <a:pt x="296" y="339"/>
                  </a:lnTo>
                  <a:lnTo>
                    <a:pt x="286" y="345"/>
                  </a:lnTo>
                  <a:lnTo>
                    <a:pt x="276" y="354"/>
                  </a:lnTo>
                  <a:lnTo>
                    <a:pt x="267" y="365"/>
                  </a:lnTo>
                  <a:lnTo>
                    <a:pt x="257" y="375"/>
                  </a:lnTo>
                  <a:lnTo>
                    <a:pt x="249" y="388"/>
                  </a:lnTo>
                  <a:lnTo>
                    <a:pt x="242" y="400"/>
                  </a:lnTo>
                  <a:lnTo>
                    <a:pt x="235" y="415"/>
                  </a:lnTo>
                  <a:lnTo>
                    <a:pt x="230" y="429"/>
                  </a:lnTo>
                  <a:lnTo>
                    <a:pt x="224" y="445"/>
                  </a:lnTo>
                  <a:lnTo>
                    <a:pt x="220" y="460"/>
                  </a:lnTo>
                  <a:lnTo>
                    <a:pt x="217" y="475"/>
                  </a:lnTo>
                  <a:lnTo>
                    <a:pt x="215" y="491"/>
                  </a:lnTo>
                  <a:lnTo>
                    <a:pt x="215" y="506"/>
                  </a:lnTo>
                  <a:lnTo>
                    <a:pt x="215" y="505"/>
                  </a:lnTo>
                  <a:lnTo>
                    <a:pt x="215" y="505"/>
                  </a:lnTo>
                  <a:lnTo>
                    <a:pt x="212" y="523"/>
                  </a:lnTo>
                  <a:lnTo>
                    <a:pt x="210" y="543"/>
                  </a:lnTo>
                  <a:lnTo>
                    <a:pt x="210" y="562"/>
                  </a:lnTo>
                  <a:lnTo>
                    <a:pt x="210" y="583"/>
                  </a:lnTo>
                  <a:lnTo>
                    <a:pt x="210" y="583"/>
                  </a:lnTo>
                  <a:lnTo>
                    <a:pt x="208" y="582"/>
                  </a:lnTo>
                  <a:lnTo>
                    <a:pt x="205" y="582"/>
                  </a:lnTo>
                  <a:lnTo>
                    <a:pt x="205" y="582"/>
                  </a:lnTo>
                  <a:lnTo>
                    <a:pt x="201" y="584"/>
                  </a:lnTo>
                  <a:lnTo>
                    <a:pt x="198" y="588"/>
                  </a:lnTo>
                  <a:lnTo>
                    <a:pt x="197" y="592"/>
                  </a:lnTo>
                  <a:lnTo>
                    <a:pt x="197" y="598"/>
                  </a:lnTo>
                  <a:lnTo>
                    <a:pt x="217" y="723"/>
                  </a:lnTo>
                  <a:lnTo>
                    <a:pt x="217" y="723"/>
                  </a:lnTo>
                  <a:lnTo>
                    <a:pt x="218" y="729"/>
                  </a:lnTo>
                  <a:lnTo>
                    <a:pt x="221" y="733"/>
                  </a:lnTo>
                  <a:lnTo>
                    <a:pt x="225" y="735"/>
                  </a:lnTo>
                  <a:lnTo>
                    <a:pt x="230" y="735"/>
                  </a:lnTo>
                  <a:lnTo>
                    <a:pt x="230" y="735"/>
                  </a:lnTo>
                  <a:lnTo>
                    <a:pt x="233" y="734"/>
                  </a:lnTo>
                  <a:lnTo>
                    <a:pt x="236" y="731"/>
                  </a:lnTo>
                  <a:lnTo>
                    <a:pt x="238" y="726"/>
                  </a:lnTo>
                  <a:lnTo>
                    <a:pt x="238" y="722"/>
                  </a:lnTo>
                  <a:lnTo>
                    <a:pt x="238" y="722"/>
                  </a:lnTo>
                  <a:lnTo>
                    <a:pt x="249" y="753"/>
                  </a:lnTo>
                  <a:lnTo>
                    <a:pt x="262" y="783"/>
                  </a:lnTo>
                  <a:lnTo>
                    <a:pt x="270" y="797"/>
                  </a:lnTo>
                  <a:lnTo>
                    <a:pt x="278" y="811"/>
                  </a:lnTo>
                  <a:lnTo>
                    <a:pt x="286" y="823"/>
                  </a:lnTo>
                  <a:lnTo>
                    <a:pt x="294" y="835"/>
                  </a:lnTo>
                  <a:lnTo>
                    <a:pt x="294" y="835"/>
                  </a:lnTo>
                  <a:lnTo>
                    <a:pt x="291" y="851"/>
                  </a:lnTo>
                  <a:lnTo>
                    <a:pt x="289" y="867"/>
                  </a:lnTo>
                  <a:lnTo>
                    <a:pt x="287" y="882"/>
                  </a:lnTo>
                  <a:lnTo>
                    <a:pt x="287" y="900"/>
                  </a:lnTo>
                  <a:lnTo>
                    <a:pt x="287" y="900"/>
                  </a:lnTo>
                  <a:lnTo>
                    <a:pt x="161" y="958"/>
                  </a:lnTo>
                  <a:lnTo>
                    <a:pt x="85" y="968"/>
                  </a:lnTo>
                  <a:lnTo>
                    <a:pt x="85" y="968"/>
                  </a:lnTo>
                  <a:lnTo>
                    <a:pt x="76" y="969"/>
                  </a:lnTo>
                  <a:lnTo>
                    <a:pt x="68" y="970"/>
                  </a:lnTo>
                  <a:lnTo>
                    <a:pt x="59" y="973"/>
                  </a:lnTo>
                  <a:lnTo>
                    <a:pt x="52" y="977"/>
                  </a:lnTo>
                  <a:lnTo>
                    <a:pt x="44" y="981"/>
                  </a:lnTo>
                  <a:lnTo>
                    <a:pt x="37" y="985"/>
                  </a:lnTo>
                  <a:lnTo>
                    <a:pt x="31" y="991"/>
                  </a:lnTo>
                  <a:lnTo>
                    <a:pt x="25" y="997"/>
                  </a:lnTo>
                  <a:lnTo>
                    <a:pt x="19" y="1004"/>
                  </a:lnTo>
                  <a:lnTo>
                    <a:pt x="14" y="1011"/>
                  </a:lnTo>
                  <a:lnTo>
                    <a:pt x="10" y="1020"/>
                  </a:lnTo>
                  <a:lnTo>
                    <a:pt x="6" y="1028"/>
                  </a:lnTo>
                  <a:lnTo>
                    <a:pt x="4" y="1037"/>
                  </a:lnTo>
                  <a:lnTo>
                    <a:pt x="2" y="1046"/>
                  </a:lnTo>
                  <a:lnTo>
                    <a:pt x="0" y="1056"/>
                  </a:lnTo>
                  <a:lnTo>
                    <a:pt x="0" y="1066"/>
                  </a:lnTo>
                  <a:lnTo>
                    <a:pt x="0" y="1250"/>
                  </a:lnTo>
                  <a:lnTo>
                    <a:pt x="0" y="1280"/>
                  </a:lnTo>
                  <a:lnTo>
                    <a:pt x="0" y="1640"/>
                  </a:lnTo>
                  <a:lnTo>
                    <a:pt x="26" y="1640"/>
                  </a:lnTo>
                  <a:lnTo>
                    <a:pt x="1060" y="1132"/>
                  </a:lnTo>
                  <a:lnTo>
                    <a:pt x="1060" y="11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1895" tIns="35948" rIns="71895" bIns="35948" numCol="1" anchor="t" anchorCtr="0" compatLnSpc="1">
              <a:prstTxWarp prst="textNoShape">
                <a:avLst/>
              </a:prstTxWarp>
            </a:bodyPr>
            <a:lstStyle/>
            <a:p>
              <a:endParaRPr lang="en-US" sz="1416"/>
            </a:p>
          </p:txBody>
        </p:sp>
        <p:sp>
          <p:nvSpPr>
            <p:cNvPr id="74" name="Freeform 79">
              <a:extLst>
                <a:ext uri="{FF2B5EF4-FFF2-40B4-BE49-F238E27FC236}">
                  <a16:creationId xmlns:a16="http://schemas.microsoft.com/office/drawing/2014/main" xmlns="" id="{CE16921A-419F-4A5B-AB31-50618A4BB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125" y="3898900"/>
              <a:ext cx="1436688" cy="396875"/>
            </a:xfrm>
            <a:custGeom>
              <a:avLst/>
              <a:gdLst/>
              <a:ahLst/>
              <a:cxnLst>
                <a:cxn ang="0">
                  <a:pos x="3345" y="325"/>
                </a:cxn>
                <a:cxn ang="0">
                  <a:pos x="3622" y="0"/>
                </a:cxn>
                <a:cxn ang="0">
                  <a:pos x="3197" y="31"/>
                </a:cxn>
                <a:cxn ang="0">
                  <a:pos x="3247" y="130"/>
                </a:cxn>
                <a:cxn ang="0">
                  <a:pos x="2026" y="729"/>
                </a:cxn>
                <a:cxn ang="0">
                  <a:pos x="1296" y="249"/>
                </a:cxn>
                <a:cxn ang="0">
                  <a:pos x="1296" y="249"/>
                </a:cxn>
                <a:cxn ang="0">
                  <a:pos x="1296" y="249"/>
                </a:cxn>
                <a:cxn ang="0">
                  <a:pos x="0" y="884"/>
                </a:cxn>
                <a:cxn ang="0">
                  <a:pos x="56" y="1000"/>
                </a:cxn>
                <a:cxn ang="0">
                  <a:pos x="1287" y="397"/>
                </a:cxn>
                <a:cxn ang="0">
                  <a:pos x="2017" y="877"/>
                </a:cxn>
                <a:cxn ang="0">
                  <a:pos x="2017" y="877"/>
                </a:cxn>
                <a:cxn ang="0">
                  <a:pos x="2017" y="877"/>
                </a:cxn>
                <a:cxn ang="0">
                  <a:pos x="2017" y="877"/>
                </a:cxn>
                <a:cxn ang="0">
                  <a:pos x="2017" y="877"/>
                </a:cxn>
                <a:cxn ang="0">
                  <a:pos x="3305" y="246"/>
                </a:cxn>
                <a:cxn ang="0">
                  <a:pos x="3345" y="325"/>
                </a:cxn>
              </a:cxnLst>
              <a:rect l="0" t="0" r="r" b="b"/>
              <a:pathLst>
                <a:path w="3622" h="1000">
                  <a:moveTo>
                    <a:pt x="3345" y="325"/>
                  </a:moveTo>
                  <a:lnTo>
                    <a:pt x="3622" y="0"/>
                  </a:lnTo>
                  <a:lnTo>
                    <a:pt x="3197" y="31"/>
                  </a:lnTo>
                  <a:lnTo>
                    <a:pt x="3247" y="130"/>
                  </a:lnTo>
                  <a:lnTo>
                    <a:pt x="2026" y="729"/>
                  </a:lnTo>
                  <a:lnTo>
                    <a:pt x="1296" y="249"/>
                  </a:lnTo>
                  <a:lnTo>
                    <a:pt x="1296" y="249"/>
                  </a:lnTo>
                  <a:lnTo>
                    <a:pt x="1296" y="249"/>
                  </a:lnTo>
                  <a:lnTo>
                    <a:pt x="0" y="884"/>
                  </a:lnTo>
                  <a:lnTo>
                    <a:pt x="56" y="1000"/>
                  </a:lnTo>
                  <a:lnTo>
                    <a:pt x="1287" y="397"/>
                  </a:lnTo>
                  <a:lnTo>
                    <a:pt x="2017" y="877"/>
                  </a:lnTo>
                  <a:lnTo>
                    <a:pt x="2017" y="877"/>
                  </a:lnTo>
                  <a:lnTo>
                    <a:pt x="2017" y="877"/>
                  </a:lnTo>
                  <a:lnTo>
                    <a:pt x="2017" y="877"/>
                  </a:lnTo>
                  <a:lnTo>
                    <a:pt x="2017" y="877"/>
                  </a:lnTo>
                  <a:lnTo>
                    <a:pt x="3305" y="246"/>
                  </a:lnTo>
                  <a:lnTo>
                    <a:pt x="3345" y="3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1895" tIns="35948" rIns="71895" bIns="35948" numCol="1" anchor="t" anchorCtr="0" compatLnSpc="1">
              <a:prstTxWarp prst="textNoShape">
                <a:avLst/>
              </a:prstTxWarp>
            </a:bodyPr>
            <a:lstStyle/>
            <a:p>
              <a:endParaRPr lang="en-US" sz="1416"/>
            </a:p>
          </p:txBody>
        </p:sp>
      </p:grp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xmlns="" id="{CECA1BB8-84CD-43EE-B041-E0D5CA0C025C}"/>
              </a:ext>
            </a:extLst>
          </p:cNvPr>
          <p:cNvSpPr/>
          <p:nvPr/>
        </p:nvSpPr>
        <p:spPr>
          <a:xfrm>
            <a:off x="1359631" y="1984347"/>
            <a:ext cx="3328424" cy="4069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22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исленность учащихся общего образования </a:t>
            </a:r>
            <a:endParaRPr lang="en-US" sz="1022" b="1" dirty="0">
              <a:solidFill>
                <a:srgbClr val="364D6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022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 классам, млн чел.</a:t>
            </a:r>
            <a:r>
              <a:rPr lang="ru-RU" sz="1022" b="1" baseline="30000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graphicFrame>
        <p:nvGraphicFramePr>
          <p:cNvPr id="138" name="Chart 3"/>
          <p:cNvGraphicFramePr/>
          <p:nvPr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2047836882"/>
              </p:ext>
            </p:extLst>
          </p:nvPr>
        </p:nvGraphicFramePr>
        <p:xfrm>
          <a:off x="5909528" y="3105616"/>
          <a:ext cx="4249952" cy="27490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3"/>
          </a:graphicData>
        </a:graphic>
      </p:graphicFrame>
      <p:cxnSp>
        <p:nvCxnSpPr>
          <p:cNvPr id="79" name="Прямая соединительная линия 78"/>
          <p:cNvCxnSpPr/>
          <p:nvPr>
            <p:custDataLst>
              <p:tags r:id="rId62"/>
            </p:custDataLst>
          </p:nvPr>
        </p:nvCxnSpPr>
        <p:spPr bwMode="gray">
          <a:xfrm>
            <a:off x="6975057" y="2890616"/>
            <a:ext cx="0" cy="129811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>
            <p:custDataLst>
              <p:tags r:id="rId63"/>
            </p:custDataLst>
          </p:nvPr>
        </p:nvCxnSpPr>
        <p:spPr bwMode="gray">
          <a:xfrm flipV="1">
            <a:off x="6321947" y="2890616"/>
            <a:ext cx="0" cy="125755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>
            <p:custDataLst>
              <p:tags r:id="rId64"/>
            </p:custDataLst>
          </p:nvPr>
        </p:nvCxnSpPr>
        <p:spPr bwMode="gray">
          <a:xfrm>
            <a:off x="6321950" y="2890615"/>
            <a:ext cx="653111" cy="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>
            <p:custDataLst>
              <p:tags r:id="rId65"/>
            </p:custDataLst>
          </p:nvPr>
        </p:nvCxnSpPr>
        <p:spPr bwMode="gray">
          <a:xfrm>
            <a:off x="7659268" y="2889264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>
            <p:custDataLst>
              <p:tags r:id="rId66"/>
            </p:custDataLst>
          </p:nvPr>
        </p:nvCxnSpPr>
        <p:spPr bwMode="gray">
          <a:xfrm flipV="1">
            <a:off x="7039963" y="2889265"/>
            <a:ext cx="0" cy="131163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>
            <p:custDataLst>
              <p:tags r:id="rId67"/>
            </p:custDataLst>
          </p:nvPr>
        </p:nvCxnSpPr>
        <p:spPr bwMode="gray">
          <a:xfrm>
            <a:off x="7039965" y="2889263"/>
            <a:ext cx="619306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>
            <p:custDataLst>
              <p:tags r:id="rId68"/>
            </p:custDataLst>
          </p:nvPr>
        </p:nvCxnSpPr>
        <p:spPr bwMode="gray">
          <a:xfrm>
            <a:off x="7724175" y="2885207"/>
            <a:ext cx="620658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>
            <p:custDataLst>
              <p:tags r:id="rId69"/>
            </p:custDataLst>
          </p:nvPr>
        </p:nvCxnSpPr>
        <p:spPr bwMode="gray">
          <a:xfrm flipV="1">
            <a:off x="7724174" y="2885209"/>
            <a:ext cx="0" cy="133868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>
            <p:custDataLst>
              <p:tags r:id="rId70"/>
            </p:custDataLst>
          </p:nvPr>
        </p:nvCxnSpPr>
        <p:spPr bwMode="gray">
          <a:xfrm>
            <a:off x="8344832" y="2885207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>
            <p:custDataLst>
              <p:tags r:id="rId71"/>
            </p:custDataLst>
          </p:nvPr>
        </p:nvCxnSpPr>
        <p:spPr bwMode="gray">
          <a:xfrm>
            <a:off x="9029043" y="2868982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>
            <p:custDataLst>
              <p:tags r:id="rId72"/>
            </p:custDataLst>
          </p:nvPr>
        </p:nvCxnSpPr>
        <p:spPr bwMode="gray">
          <a:xfrm flipV="1">
            <a:off x="8409737" y="2868980"/>
            <a:ext cx="0" cy="146037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>
            <p:custDataLst>
              <p:tags r:id="rId73"/>
            </p:custDataLst>
          </p:nvPr>
        </p:nvCxnSpPr>
        <p:spPr bwMode="gray">
          <a:xfrm>
            <a:off x="8409738" y="2868980"/>
            <a:ext cx="619306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>
            <p:custDataLst>
              <p:tags r:id="rId74"/>
            </p:custDataLst>
          </p:nvPr>
        </p:nvCxnSpPr>
        <p:spPr bwMode="gray">
          <a:xfrm>
            <a:off x="9747059" y="2862221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>
            <p:custDataLst>
              <p:tags r:id="rId75"/>
            </p:custDataLst>
          </p:nvPr>
        </p:nvCxnSpPr>
        <p:spPr bwMode="gray">
          <a:xfrm flipV="1">
            <a:off x="9093948" y="2862219"/>
            <a:ext cx="0" cy="136572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>
            <p:custDataLst>
              <p:tags r:id="rId76"/>
            </p:custDataLst>
          </p:nvPr>
        </p:nvCxnSpPr>
        <p:spPr bwMode="gray">
          <a:xfrm>
            <a:off x="9093952" y="2862219"/>
            <a:ext cx="653111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Текст 2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6910154" y="4246868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952C65D-B419-4187-85AF-7988C12B9EDA}" type="datetime'''''''''''''''''''''''''''''''''''''''''''''''7''''53'''">
              <a:rPr lang="ru-RU" altLang="en-US" sz="852">
                <a:solidFill>
                  <a:schemeClr val="bg1"/>
                </a:solidFill>
              </a:rPr>
              <a:pPr/>
              <a:t>753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92" name="Текст 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6910154" y="3292219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9EDCDF-384E-4BFB-8E2A-3497669A0D71}" type="datetime'''1''''''''''4''''4'''''''">
              <a:rPr lang="ru-RU" altLang="en-US" sz="852">
                <a:solidFill>
                  <a:schemeClr val="tx1"/>
                </a:solidFill>
              </a:rPr>
              <a:pPr/>
              <a:t>144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112" name="Текст 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8279927" y="4236051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124AF7-5E1D-43BB-B1B2-BB0CC20AC3B3}" type="datetime'''''7''''''''''''''''''''''''''''''''5''6'''''''''''''''''''">
              <a:rPr lang="ru-RU" altLang="en-US" sz="852">
                <a:solidFill>
                  <a:schemeClr val="bg1"/>
                </a:solidFill>
              </a:rPr>
              <a:pPr/>
              <a:t>756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93" name="Текст 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7594365" y="4241459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E196F8A-E099-4223-88F6-60A2737E1E07}" type="datetime'7''''''''''''''''''''''''5''''''''''''''''''''''''''3'''''''''">
              <a:rPr lang="ru-RU" altLang="en-US" sz="852">
                <a:solidFill>
                  <a:schemeClr val="bg1"/>
                </a:solidFill>
              </a:rPr>
              <a:pPr/>
              <a:t>753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121" name="Текст 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594365" y="3288163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12ACFB0-6BA8-41EF-923F-1F24B8C62DC3}" type="datetime'''''''''''''''1''''''''4''''''''''''''''2'">
              <a:rPr lang="ru-RU" altLang="en-US" sz="852">
                <a:solidFill>
                  <a:schemeClr val="tx1"/>
                </a:solidFill>
              </a:rPr>
              <a:pPr/>
              <a:t>142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94" name="Текст 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7575432" y="5820824"/>
            <a:ext cx="23257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CB636CF-5478-4F95-BA84-8F7716FF7474}" type="datetime'''''''2''''0''''''''2''''''''''''''''''''''''''''''''''0'">
              <a:rPr lang="ru-RU" altLang="en-US" sz="852">
                <a:solidFill>
                  <a:schemeClr val="tx1"/>
                </a:solidFill>
              </a:rPr>
              <a:pPr/>
              <a:t>2020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96" name="Текст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8279927" y="5380008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CAACAC5-3D9F-467D-B001-83562924CD85}" type="datetime'''''''''''''''''''''''''''''''''''''''''3''''''''''1''''9'">
              <a:rPr lang="ru-RU" altLang="en-US" sz="852">
                <a:solidFill>
                  <a:schemeClr val="bg1"/>
                </a:solidFill>
              </a:rPr>
              <a:pPr/>
              <a:t>319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114" name="Текст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8279927" y="3282754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D3C531B-247E-470E-B274-D9C6506F26AC}" type="datetime'''''''''''''''''''''1''''''''''''''''''''''''3''''''''9'''">
              <a:rPr lang="ru-RU" altLang="en-US" sz="852">
                <a:solidFill>
                  <a:schemeClr val="tx1"/>
                </a:solidFill>
              </a:rPr>
              <a:pPr/>
              <a:t>139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98" name="Текст 2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8215022" y="5820824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E75F669-F97B-4C0F-B3CE-4AB1E8FF974E}" type="datetime'2''''''''''''''''''''0''''''''2''''''''1'' ''''''''П'''">
              <a:rPr lang="ru-RU" altLang="en-US" sz="852">
                <a:solidFill>
                  <a:schemeClr val="tx1"/>
                </a:solidFill>
              </a:rPr>
              <a:pPr/>
              <a:t>2021 П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95" name="Текст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8964139" y="5378657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9AAF231-4525-4953-950F-9B761DEA709E}" type="datetime'''''''''''''3''''''''''''1''''''''''''9'''''''''''">
              <a:rPr lang="ru-RU" altLang="en-US" sz="852">
                <a:solidFill>
                  <a:schemeClr val="bg1"/>
                </a:solidFill>
              </a:rPr>
              <a:pPr/>
              <a:t>319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106" name="Текст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8964139" y="3265175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0FDCE9A-6541-4695-B8CC-E40E7E79C2DF}" type="datetime'''''1''''''''''''''''''''''''''''3''''''''''''''''''''''''9'''">
              <a:rPr lang="ru-RU" altLang="en-US" sz="852">
                <a:solidFill>
                  <a:schemeClr val="tx1"/>
                </a:solidFill>
              </a:rPr>
              <a:pPr/>
              <a:t>139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100" name="Текст 2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8899233" y="5820824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D740661-4351-41A7-A9E0-31A39FDD5436}" type="datetime'''''''2''02''''''''''''2'''''''''''''''''''''''' П'''''''''">
              <a:rPr lang="ru-RU" altLang="en-US" sz="852">
                <a:solidFill>
                  <a:schemeClr val="tx1"/>
                </a:solidFill>
              </a:rPr>
              <a:pPr/>
              <a:t>2022 П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103" name="Текст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9649701" y="4223881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C299777-7C98-495F-A58C-FF452BA9DB84}" type="datetime'''''''''''''7''''''''''''''''''''''''69'''''''''''''''''''">
              <a:rPr lang="ru-RU" altLang="en-US" sz="852">
                <a:solidFill>
                  <a:schemeClr val="bg1"/>
                </a:solidFill>
              </a:rPr>
              <a:pPr/>
              <a:t>769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116" name="Текст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9649701" y="3257062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78ED5B-F5E1-4EB1-A3CE-A3F8A842A8AC}" type="datetime'''''''''''''''''1''''''3''''''''''''''''''''''''''''''''8'">
              <a:rPr lang="ru-RU" altLang="en-US" sz="852">
                <a:solidFill>
                  <a:schemeClr val="tx1"/>
                </a:solidFill>
              </a:rPr>
              <a:pPr/>
              <a:t>138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119" name="Текст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8239361" y="3047472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C4775C-3732-474E-927E-8F74D1CCBB60}" type="datetime'''1 ''''2''1''''4'''''''''''''''''''''''''''''''''''''">
              <a:rPr lang="ru-RU" altLang="en-US" sz="852" b="1">
                <a:solidFill>
                  <a:schemeClr val="tx1"/>
                </a:solidFill>
              </a:rPr>
              <a:pPr/>
              <a:t>1 214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118" name="Текст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553797" y="3051528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8734AC-6555-46E8-90EA-2BA0BBA4EA3D}" type="datetime'''''''''''''''''''''1'' ''2''''''''''1''''''''''2'''''''">
              <a:rPr lang="ru-RU" altLang="en-US" sz="852" b="1">
                <a:solidFill>
                  <a:schemeClr val="tx1"/>
                </a:solidFill>
              </a:rPr>
              <a:pPr/>
              <a:t>1 212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97" name="Текст 2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9584796" y="5820824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915BDFC-60D6-43C7-8A75-A0D21029ED26}" type="datetime'''2''''''''''0''''''''''23'''''' ''''П'''">
              <a:rPr lang="ru-RU" altLang="en-US" sz="852">
                <a:solidFill>
                  <a:schemeClr val="tx1"/>
                </a:solidFill>
              </a:rPr>
              <a:pPr/>
              <a:t>2023 П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110" name="Текст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6224591" y="3290866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B235EE-E3AE-4FFE-A70F-357E9600FEE2}" type="datetime'''''''''''''''''''''1''''''''''''''''''''''4''''6'''''''''''''">
              <a:rPr lang="ru-RU" altLang="en-US" sz="852">
                <a:solidFill>
                  <a:schemeClr val="tx1"/>
                </a:solidFill>
              </a:rPr>
              <a:pPr/>
              <a:t>146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102" name="Текст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9649701" y="5381362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9DF981-569D-431A-8F84-29998A86C547}" type="datetime'''3''''''''''''1''''''''''''''''''''''''8'''''''''''''''''''">
              <a:rPr lang="ru-RU" altLang="en-US" sz="852">
                <a:solidFill>
                  <a:schemeClr val="bg1"/>
                </a:solidFill>
              </a:rPr>
              <a:pPr/>
              <a:t>318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107" name="Текст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6224591" y="4250925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7EE33CB-BC19-43EA-AD5A-F1B9C2821CE7}" type="datetime'''''''''''7''''5''5'''''''''''">
              <a:rPr lang="ru-RU" altLang="en-US" sz="852">
                <a:solidFill>
                  <a:schemeClr val="bg1"/>
                </a:solidFill>
              </a:rPr>
              <a:pPr/>
              <a:t>755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108" name="Текст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224591" y="5386771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55DE6B-4C66-4714-8FD6-CC293B9B486B}" type="datetime'''31''2'''''''''''''''''''''''''''''''''''''''''''''''''''''">
              <a:rPr lang="ru-RU" altLang="en-US" sz="852">
                <a:solidFill>
                  <a:schemeClr val="bg1"/>
                </a:solidFill>
              </a:rPr>
              <a:pPr/>
              <a:t>312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99" name="Текст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8964139" y="4226587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39B006-C087-4F12-9CD6-135DB4F68412}" type="datetime'''''''''''''''''''''''7''''''''''''''''''63'''''''''''''''">
              <a:rPr lang="ru-RU" altLang="en-US" sz="852">
                <a:solidFill>
                  <a:schemeClr val="bg1"/>
                </a:solidFill>
              </a:rPr>
              <a:pPr/>
              <a:t>763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111" name="Текст 2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6205658" y="5820824"/>
            <a:ext cx="23257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927433E-8A6E-44E8-9664-E8FCCCE085B4}" type="datetime'''''''''''''''''''''''''''''''''''''2''0''''''''''1''''''''8'">
              <a:rPr lang="ru-RU" altLang="en-US" sz="852">
                <a:solidFill>
                  <a:schemeClr val="tx1"/>
                </a:solidFill>
              </a:rPr>
              <a:pPr/>
              <a:t>2018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115" name="Текст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6910154" y="5384065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BF17EE-B345-492C-90E3-C1D1BB6EF653}" type="datetime'''''''''''''''''''''''3''1''''''''''''''''5'''''''''">
              <a:rPr lang="ru-RU" altLang="en-US" sz="852">
                <a:solidFill>
                  <a:schemeClr val="bg1"/>
                </a:solidFill>
              </a:rPr>
              <a:pPr/>
              <a:t>315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104" name="Текст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6184023" y="3048824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1A790D8-D67F-44A8-A735-C69BC3087037}" type="datetime'''''''''''''1'''''''' 2''''''1''''''3'''''''">
              <a:rPr lang="ru-RU" altLang="en-US" sz="852" b="1">
                <a:solidFill>
                  <a:schemeClr val="tx1"/>
                </a:solidFill>
              </a:rPr>
              <a:pPr/>
              <a:t>1 213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109" name="Текст 2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6891221" y="5820824"/>
            <a:ext cx="23257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43FCC1-F25E-4B52-AFC2-AD905158875E}" type="datetime'''''''''''''''2''''''0''''''''''''''''''''''''19'''">
              <a:rPr lang="ru-RU" altLang="en-US" sz="852">
                <a:solidFill>
                  <a:schemeClr val="tx1"/>
                </a:solidFill>
              </a:rPr>
              <a:pPr/>
              <a:t>2019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117" name="Текст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6869586" y="3052881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60557D1-4BB0-418E-A61C-056E02CA6A34}" type="datetime'1'''''''''''''''''''''''' 2''1''''1'''''''''''''''''''''''''''">
              <a:rPr lang="ru-RU" altLang="en-US" sz="852" b="1">
                <a:solidFill>
                  <a:schemeClr val="tx1"/>
                </a:solidFill>
              </a:rPr>
              <a:pPr/>
              <a:t>1 211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113" name="Текст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7594365" y="5381362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64D6E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237E75-7677-4188-B9B6-75E7D802529F}" type="datetime'3''1''7'''''''''''''''''''''''''''''''''''''''">
              <a:rPr lang="ru-RU" altLang="en-US" sz="852">
                <a:solidFill>
                  <a:schemeClr val="bg1"/>
                </a:solidFill>
              </a:rPr>
              <a:pPr/>
              <a:t>317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101" name="Текст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8923572" y="3031245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664A8E4-5D54-40F8-B8BA-A675CA099292}" type="datetime'''1 ''''''''''''''''''''''''''22''''''1'''''">
              <a:rPr lang="ru-RU" altLang="en-US" sz="852" b="1">
                <a:solidFill>
                  <a:schemeClr val="tx1"/>
                </a:solidFill>
              </a:rPr>
              <a:pPr/>
              <a:t>1 221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120" name="Текст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9609135" y="3024483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54A4D0B-F279-4729-9F68-65F3C9BAD5E4}" type="datetime'''''''''''''''''''''''1 ''2''''''''''''''''''2''''''''5'">
              <a:rPr lang="ru-RU" altLang="en-US" sz="852" b="1">
                <a:solidFill>
                  <a:schemeClr val="tx1"/>
                </a:solidFill>
              </a:rPr>
              <a:pPr/>
              <a:t>1 225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122" name="Текст 2"/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6492326" y="2808134"/>
            <a:ext cx="312358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C30C3E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1859F33-88C3-4738-8ABD-6A176FF5E3D5}" type="datetime'''-''''0'''''''''''',''''''''''''''''''''''1''%'''''''''">
              <a:rPr lang="ru-RU" altLang="en-US" sz="767">
                <a:solidFill>
                  <a:schemeClr val="tx1"/>
                </a:solidFill>
              </a:rPr>
              <a:pPr/>
              <a:t>-0,1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123" name="Текст 2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7214397" y="2806781"/>
            <a:ext cx="270439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4DCA87D-93C3-4CBE-A8F7-6071D909EA05}" type="datetime'''''''''''''''''''''''''''''''0,''''''''''''1%'''''''''''">
              <a:rPr lang="ru-RU" altLang="en-US" sz="767">
                <a:solidFill>
                  <a:schemeClr val="tx1"/>
                </a:solidFill>
              </a:rPr>
              <a:pPr/>
              <a:t>0,1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124" name="Текст 2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7898608" y="2802724"/>
            <a:ext cx="270439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DDB1D8-762D-4C72-BB6D-65C807124164}" type="datetime'''''''0'''''''''''',''''''1''''''''''''''''%'''''">
              <a:rPr lang="ru-RU" altLang="en-US" sz="767">
                <a:solidFill>
                  <a:schemeClr val="tx1"/>
                </a:solidFill>
              </a:rPr>
              <a:pPr/>
              <a:t>0,1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125" name="Текст 2"/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8584171" y="2786499"/>
            <a:ext cx="270439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8223B8-B3DF-4B0C-9132-0C066191E655}" type="datetime'0'',''''''''''''''''''6''''%'''''''''''''''''">
              <a:rPr lang="ru-RU" altLang="en-US" sz="767">
                <a:solidFill>
                  <a:schemeClr val="tx1"/>
                </a:solidFill>
              </a:rPr>
              <a:pPr/>
              <a:t>0,6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126" name="Текст 2"/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9284610" y="2779737"/>
            <a:ext cx="270439" cy="16496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5DE9FFB-F9BE-4822-9EA2-115067DFD980}" type="datetime'''''''''0'''''',''3''''''''''''''''''''''''''''''%'''''">
              <a:rPr lang="ru-RU" altLang="en-US" sz="767">
                <a:solidFill>
                  <a:schemeClr val="tx1"/>
                </a:solidFill>
              </a:rPr>
              <a:pPr/>
              <a:t>0,3%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127" name="Прямоугольник 126"/>
          <p:cNvSpPr/>
          <p:nvPr>
            <p:custDataLst>
              <p:tags r:id="rId112"/>
            </p:custDataLst>
          </p:nvPr>
        </p:nvSpPr>
        <p:spPr bwMode="auto">
          <a:xfrm>
            <a:off x="9083877" y="6128781"/>
            <a:ext cx="136572" cy="102767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129" name="Прямоугольник 128"/>
          <p:cNvSpPr/>
          <p:nvPr>
            <p:custDataLst>
              <p:tags r:id="rId113"/>
            </p:custDataLst>
          </p:nvPr>
        </p:nvSpPr>
        <p:spPr bwMode="auto">
          <a:xfrm>
            <a:off x="5669881" y="6114251"/>
            <a:ext cx="136572" cy="102767"/>
          </a:xfrm>
          <a:prstGeom prst="rect">
            <a:avLst/>
          </a:prstGeom>
          <a:solidFill>
            <a:srgbClr val="D2DEE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128" name="Прямоугольник 127"/>
          <p:cNvSpPr/>
          <p:nvPr>
            <p:custDataLst>
              <p:tags r:id="rId114"/>
            </p:custDataLst>
          </p:nvPr>
        </p:nvSpPr>
        <p:spPr bwMode="auto">
          <a:xfrm>
            <a:off x="7845717" y="6125680"/>
            <a:ext cx="136572" cy="102767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132" name="Текст 2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5849726" y="6111549"/>
            <a:ext cx="1863326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D3448AE-0D58-4ABB-99A9-5DE893398FC2}" type="datetime'А''д''минист''р''ати''вно-''уп''равл''енческий ''пе''р''сонал'">
              <a:rPr lang="ru-RU" altLang="en-US" sz="767">
                <a:solidFill>
                  <a:schemeClr val="tx1"/>
                </a:solidFill>
              </a:rPr>
              <a:pPr/>
              <a:t>Административно-управленческий персонал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130" name="Текст 2"/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8025559" y="6122978"/>
            <a:ext cx="920846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D2D5202-79D4-4CC3-AABA-AE53F4DACC21}" type="datetime'У''ч''''''''ит''''ел''''я-пр''''едм''ет''''ник''''''''и'''''''">
              <a:rPr lang="ru-RU" altLang="en-US" sz="767">
                <a:solidFill>
                  <a:schemeClr val="tx1"/>
                </a:solidFill>
              </a:rPr>
              <a:pPr/>
              <a:t>Учителя-предметники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131" name="Текст 2"/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9263723" y="6126078"/>
            <a:ext cx="1138549" cy="1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54944C2-09BA-405C-9430-6B5B30140E54}" type="datetime'Уч''''и''теля н''а''чальн''ы''''''х к''''л''''''ас''с''ов'">
              <a:rPr lang="ru-RU" altLang="en-US" sz="767">
                <a:solidFill>
                  <a:schemeClr val="tx1"/>
                </a:solidFill>
              </a:rPr>
              <a:pPr/>
              <a:t>Учителя начальных классов</a:t>
            </a:fld>
            <a:endParaRPr lang="ru-RU" sz="767" dirty="0">
              <a:solidFill>
                <a:schemeClr val="tx1"/>
              </a:solidFill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xmlns="" id="{CECA1BB8-84CD-43EE-B041-E0D5CA0C025C}"/>
              </a:ext>
            </a:extLst>
          </p:cNvPr>
          <p:cNvSpPr/>
          <p:nvPr/>
        </p:nvSpPr>
        <p:spPr>
          <a:xfrm>
            <a:off x="6187326" y="1991841"/>
            <a:ext cx="2489801" cy="249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22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исленность учителей, тыс. чел.</a:t>
            </a:r>
            <a:r>
              <a:rPr lang="ru-RU" sz="1022" b="1" baseline="30000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134" name="Freeform 33"/>
          <p:cNvSpPr>
            <a:spLocks noEditPoints="1"/>
          </p:cNvSpPr>
          <p:nvPr/>
        </p:nvSpPr>
        <p:spPr bwMode="auto">
          <a:xfrm>
            <a:off x="5578583" y="2020745"/>
            <a:ext cx="405659" cy="305596"/>
          </a:xfrm>
          <a:custGeom>
            <a:avLst/>
            <a:gdLst/>
            <a:ahLst/>
            <a:cxnLst>
              <a:cxn ang="0">
                <a:pos x="342" y="126"/>
              </a:cxn>
              <a:cxn ang="0">
                <a:pos x="390" y="150"/>
              </a:cxn>
              <a:cxn ang="0">
                <a:pos x="416" y="198"/>
              </a:cxn>
              <a:cxn ang="0">
                <a:pos x="416" y="241"/>
              </a:cxn>
              <a:cxn ang="0">
                <a:pos x="412" y="291"/>
              </a:cxn>
              <a:cxn ang="0">
                <a:pos x="392" y="328"/>
              </a:cxn>
              <a:cxn ang="0">
                <a:pos x="344" y="354"/>
              </a:cxn>
              <a:cxn ang="0">
                <a:pos x="330" y="356"/>
              </a:cxn>
              <a:cxn ang="0">
                <a:pos x="321" y="354"/>
              </a:cxn>
              <a:cxn ang="0">
                <a:pos x="285" y="344"/>
              </a:cxn>
              <a:cxn ang="0">
                <a:pos x="245" y="309"/>
              </a:cxn>
              <a:cxn ang="0">
                <a:pos x="231" y="267"/>
              </a:cxn>
              <a:cxn ang="0">
                <a:pos x="225" y="217"/>
              </a:cxn>
              <a:cxn ang="0">
                <a:pos x="229" y="172"/>
              </a:cxn>
              <a:cxn ang="0">
                <a:pos x="263" y="136"/>
              </a:cxn>
              <a:cxn ang="0">
                <a:pos x="315" y="124"/>
              </a:cxn>
              <a:cxn ang="0">
                <a:pos x="1016" y="0"/>
              </a:cxn>
              <a:cxn ang="0">
                <a:pos x="1055" y="15"/>
              </a:cxn>
              <a:cxn ang="0">
                <a:pos x="1071" y="55"/>
              </a:cxn>
              <a:cxn ang="0">
                <a:pos x="1067" y="774"/>
              </a:cxn>
              <a:cxn ang="0">
                <a:pos x="1038" y="804"/>
              </a:cxn>
              <a:cxn ang="0">
                <a:pos x="497" y="810"/>
              </a:cxn>
              <a:cxn ang="0">
                <a:pos x="986" y="722"/>
              </a:cxn>
              <a:cxn ang="0">
                <a:pos x="87" y="87"/>
              </a:cxn>
              <a:cxn ang="0">
                <a:pos x="154" y="722"/>
              </a:cxn>
              <a:cxn ang="0">
                <a:pos x="146" y="499"/>
              </a:cxn>
              <a:cxn ang="0">
                <a:pos x="160" y="443"/>
              </a:cxn>
              <a:cxn ang="0">
                <a:pos x="192" y="396"/>
              </a:cxn>
              <a:cxn ang="0">
                <a:pos x="241" y="370"/>
              </a:cxn>
              <a:cxn ang="0">
                <a:pos x="293" y="366"/>
              </a:cxn>
              <a:cxn ang="0">
                <a:pos x="356" y="376"/>
              </a:cxn>
              <a:cxn ang="0">
                <a:pos x="410" y="394"/>
              </a:cxn>
              <a:cxn ang="0">
                <a:pos x="449" y="439"/>
              </a:cxn>
              <a:cxn ang="0">
                <a:pos x="495" y="522"/>
              </a:cxn>
              <a:cxn ang="0">
                <a:pos x="639" y="564"/>
              </a:cxn>
              <a:cxn ang="0">
                <a:pos x="657" y="568"/>
              </a:cxn>
              <a:cxn ang="0">
                <a:pos x="911" y="421"/>
              </a:cxn>
              <a:cxn ang="0">
                <a:pos x="683" y="610"/>
              </a:cxn>
              <a:cxn ang="0">
                <a:pos x="673" y="641"/>
              </a:cxn>
              <a:cxn ang="0">
                <a:pos x="633" y="657"/>
              </a:cxn>
              <a:cxn ang="0">
                <a:pos x="447" y="572"/>
              </a:cxn>
              <a:cxn ang="0">
                <a:pos x="443" y="810"/>
              </a:cxn>
              <a:cxn ang="0">
                <a:pos x="33" y="804"/>
              </a:cxn>
              <a:cxn ang="0">
                <a:pos x="4" y="774"/>
              </a:cxn>
              <a:cxn ang="0">
                <a:pos x="0" y="55"/>
              </a:cxn>
              <a:cxn ang="0">
                <a:pos x="16" y="15"/>
              </a:cxn>
              <a:cxn ang="0">
                <a:pos x="55" y="0"/>
              </a:cxn>
            </a:cxnLst>
            <a:rect l="0" t="0" r="r" b="b"/>
            <a:pathLst>
              <a:path w="1071" h="810">
                <a:moveTo>
                  <a:pt x="315" y="124"/>
                </a:moveTo>
                <a:lnTo>
                  <a:pt x="342" y="126"/>
                </a:lnTo>
                <a:lnTo>
                  <a:pt x="368" y="136"/>
                </a:lnTo>
                <a:lnTo>
                  <a:pt x="390" y="150"/>
                </a:lnTo>
                <a:lnTo>
                  <a:pt x="406" y="172"/>
                </a:lnTo>
                <a:lnTo>
                  <a:pt x="416" y="198"/>
                </a:lnTo>
                <a:lnTo>
                  <a:pt x="416" y="217"/>
                </a:lnTo>
                <a:lnTo>
                  <a:pt x="416" y="241"/>
                </a:lnTo>
                <a:lnTo>
                  <a:pt x="414" y="267"/>
                </a:lnTo>
                <a:lnTo>
                  <a:pt x="412" y="291"/>
                </a:lnTo>
                <a:lnTo>
                  <a:pt x="406" y="309"/>
                </a:lnTo>
                <a:lnTo>
                  <a:pt x="392" y="328"/>
                </a:lnTo>
                <a:lnTo>
                  <a:pt x="370" y="344"/>
                </a:lnTo>
                <a:lnTo>
                  <a:pt x="344" y="354"/>
                </a:lnTo>
                <a:lnTo>
                  <a:pt x="336" y="354"/>
                </a:lnTo>
                <a:lnTo>
                  <a:pt x="330" y="356"/>
                </a:lnTo>
                <a:lnTo>
                  <a:pt x="326" y="356"/>
                </a:lnTo>
                <a:lnTo>
                  <a:pt x="321" y="354"/>
                </a:lnTo>
                <a:lnTo>
                  <a:pt x="313" y="354"/>
                </a:lnTo>
                <a:lnTo>
                  <a:pt x="285" y="344"/>
                </a:lnTo>
                <a:lnTo>
                  <a:pt x="263" y="328"/>
                </a:lnTo>
                <a:lnTo>
                  <a:pt x="245" y="309"/>
                </a:lnTo>
                <a:lnTo>
                  <a:pt x="239" y="291"/>
                </a:lnTo>
                <a:lnTo>
                  <a:pt x="231" y="267"/>
                </a:lnTo>
                <a:lnTo>
                  <a:pt x="227" y="241"/>
                </a:lnTo>
                <a:lnTo>
                  <a:pt x="225" y="217"/>
                </a:lnTo>
                <a:lnTo>
                  <a:pt x="223" y="198"/>
                </a:lnTo>
                <a:lnTo>
                  <a:pt x="229" y="172"/>
                </a:lnTo>
                <a:lnTo>
                  <a:pt x="243" y="150"/>
                </a:lnTo>
                <a:lnTo>
                  <a:pt x="263" y="136"/>
                </a:lnTo>
                <a:lnTo>
                  <a:pt x="287" y="126"/>
                </a:lnTo>
                <a:lnTo>
                  <a:pt x="315" y="124"/>
                </a:lnTo>
                <a:close/>
                <a:moveTo>
                  <a:pt x="55" y="0"/>
                </a:moveTo>
                <a:lnTo>
                  <a:pt x="1016" y="0"/>
                </a:lnTo>
                <a:lnTo>
                  <a:pt x="1038" y="4"/>
                </a:lnTo>
                <a:lnTo>
                  <a:pt x="1055" y="15"/>
                </a:lnTo>
                <a:lnTo>
                  <a:pt x="1067" y="33"/>
                </a:lnTo>
                <a:lnTo>
                  <a:pt x="1071" y="55"/>
                </a:lnTo>
                <a:lnTo>
                  <a:pt x="1071" y="752"/>
                </a:lnTo>
                <a:lnTo>
                  <a:pt x="1067" y="774"/>
                </a:lnTo>
                <a:lnTo>
                  <a:pt x="1055" y="792"/>
                </a:lnTo>
                <a:lnTo>
                  <a:pt x="1038" y="804"/>
                </a:lnTo>
                <a:lnTo>
                  <a:pt x="1016" y="810"/>
                </a:lnTo>
                <a:lnTo>
                  <a:pt x="497" y="810"/>
                </a:lnTo>
                <a:lnTo>
                  <a:pt x="497" y="722"/>
                </a:lnTo>
                <a:lnTo>
                  <a:pt x="986" y="722"/>
                </a:lnTo>
                <a:lnTo>
                  <a:pt x="986" y="87"/>
                </a:lnTo>
                <a:lnTo>
                  <a:pt x="87" y="87"/>
                </a:lnTo>
                <a:lnTo>
                  <a:pt x="87" y="722"/>
                </a:lnTo>
                <a:lnTo>
                  <a:pt x="154" y="722"/>
                </a:lnTo>
                <a:lnTo>
                  <a:pt x="144" y="526"/>
                </a:lnTo>
                <a:lnTo>
                  <a:pt x="146" y="499"/>
                </a:lnTo>
                <a:lnTo>
                  <a:pt x="150" y="471"/>
                </a:lnTo>
                <a:lnTo>
                  <a:pt x="160" y="443"/>
                </a:lnTo>
                <a:lnTo>
                  <a:pt x="174" y="417"/>
                </a:lnTo>
                <a:lnTo>
                  <a:pt x="192" y="396"/>
                </a:lnTo>
                <a:lnTo>
                  <a:pt x="216" y="380"/>
                </a:lnTo>
                <a:lnTo>
                  <a:pt x="241" y="370"/>
                </a:lnTo>
                <a:lnTo>
                  <a:pt x="265" y="366"/>
                </a:lnTo>
                <a:lnTo>
                  <a:pt x="293" y="366"/>
                </a:lnTo>
                <a:lnTo>
                  <a:pt x="324" y="370"/>
                </a:lnTo>
                <a:lnTo>
                  <a:pt x="356" y="376"/>
                </a:lnTo>
                <a:lnTo>
                  <a:pt x="386" y="384"/>
                </a:lnTo>
                <a:lnTo>
                  <a:pt x="410" y="394"/>
                </a:lnTo>
                <a:lnTo>
                  <a:pt x="426" y="406"/>
                </a:lnTo>
                <a:lnTo>
                  <a:pt x="449" y="439"/>
                </a:lnTo>
                <a:lnTo>
                  <a:pt x="473" y="481"/>
                </a:lnTo>
                <a:lnTo>
                  <a:pt x="495" y="522"/>
                </a:lnTo>
                <a:lnTo>
                  <a:pt x="513" y="560"/>
                </a:lnTo>
                <a:lnTo>
                  <a:pt x="639" y="564"/>
                </a:lnTo>
                <a:lnTo>
                  <a:pt x="649" y="566"/>
                </a:lnTo>
                <a:lnTo>
                  <a:pt x="657" y="568"/>
                </a:lnTo>
                <a:lnTo>
                  <a:pt x="663" y="572"/>
                </a:lnTo>
                <a:lnTo>
                  <a:pt x="911" y="421"/>
                </a:lnTo>
                <a:lnTo>
                  <a:pt x="923" y="439"/>
                </a:lnTo>
                <a:lnTo>
                  <a:pt x="683" y="610"/>
                </a:lnTo>
                <a:lnTo>
                  <a:pt x="681" y="627"/>
                </a:lnTo>
                <a:lnTo>
                  <a:pt x="673" y="641"/>
                </a:lnTo>
                <a:lnTo>
                  <a:pt x="655" y="653"/>
                </a:lnTo>
                <a:lnTo>
                  <a:pt x="633" y="657"/>
                </a:lnTo>
                <a:lnTo>
                  <a:pt x="453" y="657"/>
                </a:lnTo>
                <a:lnTo>
                  <a:pt x="447" y="572"/>
                </a:lnTo>
                <a:lnTo>
                  <a:pt x="437" y="566"/>
                </a:lnTo>
                <a:lnTo>
                  <a:pt x="443" y="810"/>
                </a:lnTo>
                <a:lnTo>
                  <a:pt x="55" y="810"/>
                </a:lnTo>
                <a:lnTo>
                  <a:pt x="33" y="804"/>
                </a:lnTo>
                <a:lnTo>
                  <a:pt x="16" y="792"/>
                </a:lnTo>
                <a:lnTo>
                  <a:pt x="4" y="774"/>
                </a:lnTo>
                <a:lnTo>
                  <a:pt x="0" y="752"/>
                </a:lnTo>
                <a:lnTo>
                  <a:pt x="0" y="55"/>
                </a:lnTo>
                <a:lnTo>
                  <a:pt x="4" y="33"/>
                </a:lnTo>
                <a:lnTo>
                  <a:pt x="16" y="15"/>
                </a:lnTo>
                <a:lnTo>
                  <a:pt x="33" y="4"/>
                </a:lnTo>
                <a:lnTo>
                  <a:pt x="55" y="0"/>
                </a:lnTo>
                <a:close/>
              </a:path>
            </a:pathLst>
          </a:custGeom>
          <a:solidFill>
            <a:srgbClr val="9DB1C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1895" tIns="35948" rIns="71895" bIns="35948" numCol="1" anchor="t" anchorCtr="0" compatLnSpc="1">
            <a:prstTxWarp prst="textNoShape">
              <a:avLst/>
            </a:prstTxWarp>
          </a:bodyPr>
          <a:lstStyle/>
          <a:p>
            <a:endParaRPr lang="en-US" sz="1416"/>
          </a:p>
        </p:txBody>
      </p:sp>
      <p:sp>
        <p:nvSpPr>
          <p:cNvPr id="2" name="Прямоугольник 1"/>
          <p:cNvSpPr/>
          <p:nvPr/>
        </p:nvSpPr>
        <p:spPr>
          <a:xfrm>
            <a:off x="2297821" y="585881"/>
            <a:ext cx="7066575" cy="56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33" spc="-34" dirty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исленность обучающихся и педагогов в сегменте общего образования </a:t>
            </a:r>
            <a:endParaRPr lang="en-US" sz="1533" spc="-34" dirty="0">
              <a:solidFill>
                <a:srgbClr val="29479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533" spc="-34" dirty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2018 – 2020 гг. и прогноз на 2021-2023 гг. </a:t>
            </a:r>
          </a:p>
        </p:txBody>
      </p:sp>
      <p:sp>
        <p:nvSpPr>
          <p:cNvPr id="157" name="Номер слайда 2">
            <a:extLst>
              <a:ext uri="{FF2B5EF4-FFF2-40B4-BE49-F238E27FC236}">
                <a16:creationId xmlns:a16="http://schemas.microsoft.com/office/drawing/2014/main" xmlns="" id="{EBAA5FF3-CC20-4BAC-BA56-BCD1765C7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45770" y="7298518"/>
            <a:ext cx="2336594" cy="311005"/>
          </a:xfrm>
        </p:spPr>
        <p:txBody>
          <a:bodyPr/>
          <a:lstStyle/>
          <a:p>
            <a:fld id="{8AD70286-9A37-49D5-84CC-170BFF34E83D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4192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60887" y="968399"/>
          <a:ext cx="1352" cy="1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Слайд think-cell" r:id="rId134" imgW="216" imgH="216" progId="TCLayout.ActiveDocument.1">
                  <p:embed/>
                </p:oleObj>
              </mc:Choice>
              <mc:Fallback>
                <p:oleObj name="Слайд think-cell" r:id="rId134" imgW="216" imgH="21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135"/>
                      <a:stretch>
                        <a:fillRect/>
                      </a:stretch>
                    </p:blipFill>
                    <p:spPr>
                      <a:xfrm>
                        <a:off x="1560887" y="968399"/>
                        <a:ext cx="1352" cy="13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1559532" y="967044"/>
            <a:ext cx="135220" cy="13522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52" b="1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0" name="Прямоугольник 119"/>
          <p:cNvSpPr/>
          <p:nvPr/>
        </p:nvSpPr>
        <p:spPr>
          <a:xfrm>
            <a:off x="586980" y="6901048"/>
            <a:ext cx="9479832" cy="482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4723" indent="-194723">
              <a:lnSpc>
                <a:spcPct val="90000"/>
              </a:lnSpc>
              <a:spcBef>
                <a:spcPts val="85"/>
              </a:spcBef>
              <a:spcAft>
                <a:spcPts val="85"/>
              </a:spcAft>
              <a:buAutoNum type="arabicPeriod"/>
              <a:defRPr/>
            </a:pPr>
            <a:r>
              <a:rPr lang="ru-RU" sz="681" spc="-34" dirty="0" smtClean="0">
                <a:latin typeface="Calibri" pitchFamily="34" charset="0"/>
              </a:rPr>
              <a:t>Данные </a:t>
            </a:r>
            <a:r>
              <a:rPr lang="ru-RU" sz="681" spc="-34" dirty="0">
                <a:latin typeface="Calibri" pitchFamily="34" charset="0"/>
              </a:rPr>
              <a:t>с учетом бюджетных средств всех уровней, средств населения и неизрасходованные остатки за предыдущий период.</a:t>
            </a:r>
          </a:p>
          <a:p>
            <a:pPr marL="194723" indent="-194723">
              <a:lnSpc>
                <a:spcPct val="90000"/>
              </a:lnSpc>
              <a:buAutoNum type="arabicPeriod"/>
              <a:defRPr/>
            </a:pPr>
            <a:r>
              <a:rPr lang="ru-RU" sz="681" spc="-34" dirty="0">
                <a:latin typeface="Calibri" pitchFamily="34" charset="0"/>
              </a:rPr>
              <a:t>Исполнение федерального бюджета в части бюджетных ассигнований, предусмотренных на реализацию национальных проектов и федеральных проектов, по состоянию на 01.04.2021 составляет 6,8% от федерального бюджета и 4,4% от консолидированного бюджета с учетом бюджетов субъектов РФ и внебюджетных фондов (</a:t>
            </a:r>
            <a:r>
              <a:rPr lang="en-US" sz="681" spc="-34" dirty="0">
                <a:latin typeface="Calibri" pitchFamily="34" charset="0"/>
                <a:hlinkClick r:id="rId136"/>
              </a:rPr>
              <a:t>https://iz.ru/1148679/2021-04-08/v-rossii-uskorilos-ispolnenie-natcproektov-v-i-kvartale-2021-goda</a:t>
            </a:r>
            <a:r>
              <a:rPr lang="ru-RU" sz="681" spc="-34" dirty="0" smtClean="0">
                <a:latin typeface="Calibri" pitchFamily="34" charset="0"/>
              </a:rPr>
              <a:t>).</a:t>
            </a:r>
          </a:p>
          <a:p>
            <a:pPr marL="194723" indent="-194723">
              <a:lnSpc>
                <a:spcPct val="90000"/>
              </a:lnSpc>
              <a:buFontTx/>
              <a:buAutoNum type="arabicPeriod"/>
              <a:defRPr/>
            </a:pPr>
            <a:r>
              <a:rPr lang="ru-RU" sz="681" spc="-34" dirty="0">
                <a:latin typeface="Calibri" pitchFamily="34" charset="0"/>
              </a:rPr>
              <a:t>Источник: данные об исполнении бюджета РФ за 2019 гг. на сайте Минфин России (minfin.gov.ru) , прогноз на 2020-2023 гг. – экспертная оценка Компании</a:t>
            </a:r>
            <a:r>
              <a:rPr lang="en-US" sz="681" spc="-34" dirty="0">
                <a:latin typeface="Calibri" pitchFamily="34" charset="0"/>
              </a:rPr>
              <a:t> </a:t>
            </a:r>
            <a:r>
              <a:rPr lang="ru-RU" sz="681" spc="-34" dirty="0">
                <a:latin typeface="Calibri" pitchFamily="34" charset="0"/>
              </a:rPr>
              <a:t>на основе фактической структуры затрат. Опубликование факта 2020 г. ожидается в 3 квартале 2021 г</a:t>
            </a:r>
            <a:r>
              <a:rPr lang="ru-RU" sz="681" spc="-34" dirty="0" smtClean="0">
                <a:latin typeface="Calibri" pitchFamily="34" charset="0"/>
              </a:rPr>
              <a:t>.</a:t>
            </a:r>
            <a:endParaRPr lang="ru-RU" sz="681" spc="-34" dirty="0">
              <a:latin typeface="Calibri" pitchFamily="34" charset="0"/>
            </a:endParaRPr>
          </a:p>
        </p:txBody>
      </p:sp>
      <p:cxnSp>
        <p:nvCxnSpPr>
          <p:cNvPr id="127" name="Прямая соединительная линия 126"/>
          <p:cNvCxnSpPr/>
          <p:nvPr>
            <p:custDataLst>
              <p:tags r:id="rId4"/>
            </p:custDataLst>
          </p:nvPr>
        </p:nvCxnSpPr>
        <p:spPr bwMode="auto">
          <a:xfrm flipV="1">
            <a:off x="7520498" y="4116056"/>
            <a:ext cx="665280" cy="36374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06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28546911"/>
              </p:ext>
            </p:extLst>
          </p:nvPr>
        </p:nvGraphicFramePr>
        <p:xfrm>
          <a:off x="1792599" y="2597542"/>
          <a:ext cx="7629089" cy="3330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7"/>
          </a:graphicData>
        </a:graphic>
      </p:graphicFrame>
      <p:sp useBgFill="1">
        <p:nvSpPr>
          <p:cNvPr id="74" name="Полилиния 73"/>
          <p:cNvSpPr/>
          <p:nvPr>
            <p:custDataLst>
              <p:tags r:id="rId6"/>
            </p:custDataLst>
          </p:nvPr>
        </p:nvSpPr>
        <p:spPr bwMode="auto">
          <a:xfrm>
            <a:off x="5150102" y="4989575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71" name="Полилиния 70"/>
          <p:cNvSpPr/>
          <p:nvPr>
            <p:custDataLst>
              <p:tags r:id="rId7"/>
            </p:custDataLst>
          </p:nvPr>
        </p:nvSpPr>
        <p:spPr bwMode="auto">
          <a:xfrm>
            <a:off x="3651869" y="4989575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23" name="Полилиния 122"/>
          <p:cNvSpPr/>
          <p:nvPr>
            <p:custDataLst>
              <p:tags r:id="rId8"/>
            </p:custDataLst>
          </p:nvPr>
        </p:nvSpPr>
        <p:spPr bwMode="auto">
          <a:xfrm>
            <a:off x="6646982" y="576844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26" name="Полилиния 125"/>
          <p:cNvSpPr/>
          <p:nvPr>
            <p:custDataLst>
              <p:tags r:id="rId9"/>
            </p:custDataLst>
          </p:nvPr>
        </p:nvSpPr>
        <p:spPr bwMode="auto">
          <a:xfrm>
            <a:off x="8145215" y="576844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19" name="Полилиния 118"/>
          <p:cNvSpPr/>
          <p:nvPr>
            <p:custDataLst>
              <p:tags r:id="rId10"/>
            </p:custDataLst>
          </p:nvPr>
        </p:nvSpPr>
        <p:spPr bwMode="auto">
          <a:xfrm>
            <a:off x="5150102" y="576844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13" name="Полилиния 112"/>
          <p:cNvSpPr/>
          <p:nvPr>
            <p:custDataLst>
              <p:tags r:id="rId11"/>
            </p:custDataLst>
          </p:nvPr>
        </p:nvSpPr>
        <p:spPr bwMode="auto">
          <a:xfrm>
            <a:off x="2154988" y="576844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3" name="Полилиния 12"/>
          <p:cNvSpPr/>
          <p:nvPr>
            <p:custDataLst>
              <p:tags r:id="rId12"/>
            </p:custDataLst>
          </p:nvPr>
        </p:nvSpPr>
        <p:spPr bwMode="auto">
          <a:xfrm>
            <a:off x="2154988" y="4989575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10" name="Полилиния 109"/>
          <p:cNvSpPr/>
          <p:nvPr>
            <p:custDataLst>
              <p:tags r:id="rId13"/>
            </p:custDataLst>
          </p:nvPr>
        </p:nvSpPr>
        <p:spPr bwMode="auto">
          <a:xfrm>
            <a:off x="8145215" y="565756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80" name="Полилиния 79"/>
          <p:cNvSpPr/>
          <p:nvPr>
            <p:custDataLst>
              <p:tags r:id="rId14"/>
            </p:custDataLst>
          </p:nvPr>
        </p:nvSpPr>
        <p:spPr bwMode="auto">
          <a:xfrm>
            <a:off x="8145215" y="4989575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07" name="Полилиния 106"/>
          <p:cNvSpPr/>
          <p:nvPr>
            <p:custDataLst>
              <p:tags r:id="rId15"/>
            </p:custDataLst>
          </p:nvPr>
        </p:nvSpPr>
        <p:spPr bwMode="auto">
          <a:xfrm>
            <a:off x="6646982" y="565756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04" name="Полилиния 103"/>
          <p:cNvSpPr/>
          <p:nvPr>
            <p:custDataLst>
              <p:tags r:id="rId16"/>
            </p:custDataLst>
          </p:nvPr>
        </p:nvSpPr>
        <p:spPr bwMode="auto">
          <a:xfrm>
            <a:off x="5150102" y="565756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95" name="Полилиния 94"/>
          <p:cNvSpPr/>
          <p:nvPr>
            <p:custDataLst>
              <p:tags r:id="rId17"/>
            </p:custDataLst>
          </p:nvPr>
        </p:nvSpPr>
        <p:spPr bwMode="auto">
          <a:xfrm>
            <a:off x="8145215" y="5100454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01" name="Полилиния 100"/>
          <p:cNvSpPr/>
          <p:nvPr>
            <p:custDataLst>
              <p:tags r:id="rId18"/>
            </p:custDataLst>
          </p:nvPr>
        </p:nvSpPr>
        <p:spPr bwMode="auto">
          <a:xfrm>
            <a:off x="3651869" y="565756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89" name="Полилиния 88"/>
          <p:cNvSpPr/>
          <p:nvPr>
            <p:custDataLst>
              <p:tags r:id="rId19"/>
            </p:custDataLst>
          </p:nvPr>
        </p:nvSpPr>
        <p:spPr bwMode="auto">
          <a:xfrm>
            <a:off x="5150102" y="5100454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98" name="Полилиния 97"/>
          <p:cNvSpPr/>
          <p:nvPr>
            <p:custDataLst>
              <p:tags r:id="rId20"/>
            </p:custDataLst>
          </p:nvPr>
        </p:nvSpPr>
        <p:spPr bwMode="auto">
          <a:xfrm>
            <a:off x="2154988" y="565756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92" name="Полилиния 91"/>
          <p:cNvSpPr/>
          <p:nvPr>
            <p:custDataLst>
              <p:tags r:id="rId21"/>
            </p:custDataLst>
          </p:nvPr>
        </p:nvSpPr>
        <p:spPr bwMode="auto">
          <a:xfrm>
            <a:off x="6646982" y="5100454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116" name="Полилиния 115"/>
          <p:cNvSpPr/>
          <p:nvPr>
            <p:custDataLst>
              <p:tags r:id="rId22"/>
            </p:custDataLst>
          </p:nvPr>
        </p:nvSpPr>
        <p:spPr bwMode="auto">
          <a:xfrm>
            <a:off x="3651869" y="5768440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86" name="Полилиния 85"/>
          <p:cNvSpPr/>
          <p:nvPr>
            <p:custDataLst>
              <p:tags r:id="rId23"/>
            </p:custDataLst>
          </p:nvPr>
        </p:nvSpPr>
        <p:spPr bwMode="auto">
          <a:xfrm>
            <a:off x="3651869" y="5100454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83" name="Полилиния 82"/>
          <p:cNvSpPr/>
          <p:nvPr>
            <p:custDataLst>
              <p:tags r:id="rId24"/>
            </p:custDataLst>
          </p:nvPr>
        </p:nvSpPr>
        <p:spPr bwMode="auto">
          <a:xfrm>
            <a:off x="2154988" y="5100454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 useBgFill="1">
        <p:nvSpPr>
          <p:cNvPr id="77" name="Полилиния 76"/>
          <p:cNvSpPr/>
          <p:nvPr>
            <p:custDataLst>
              <p:tags r:id="rId25"/>
            </p:custDataLst>
          </p:nvPr>
        </p:nvSpPr>
        <p:spPr bwMode="auto">
          <a:xfrm>
            <a:off x="6646982" y="4989575"/>
            <a:ext cx="914085" cy="67611"/>
          </a:xfrm>
          <a:custGeom>
            <a:avLst/>
            <a:gdLst/>
            <a:ahLst/>
            <a:cxnLst/>
            <a:rect l="0" t="0" r="0" b="0"/>
            <a:pathLst>
              <a:path w="10731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21" name="Полилиния 120"/>
          <p:cNvSpPr/>
          <p:nvPr>
            <p:custDataLst>
              <p:tags r:id="rId26"/>
            </p:custDataLst>
          </p:nvPr>
        </p:nvSpPr>
        <p:spPr bwMode="auto">
          <a:xfrm>
            <a:off x="6646982" y="576843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69" name="Полилиния 68"/>
          <p:cNvSpPr/>
          <p:nvPr>
            <p:custDataLst>
              <p:tags r:id="rId27"/>
            </p:custDataLst>
          </p:nvPr>
        </p:nvSpPr>
        <p:spPr bwMode="auto">
          <a:xfrm>
            <a:off x="3651869" y="498957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75" name="Полилиния 74"/>
          <p:cNvSpPr/>
          <p:nvPr>
            <p:custDataLst>
              <p:tags r:id="rId28"/>
            </p:custDataLst>
          </p:nvPr>
        </p:nvSpPr>
        <p:spPr bwMode="auto">
          <a:xfrm>
            <a:off x="6646982" y="498957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15" name="Полилиния 114"/>
          <p:cNvSpPr/>
          <p:nvPr>
            <p:custDataLst>
              <p:tags r:id="rId29"/>
            </p:custDataLst>
          </p:nvPr>
        </p:nvSpPr>
        <p:spPr bwMode="auto">
          <a:xfrm>
            <a:off x="3651869" y="581711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76" name="Полилиния 75"/>
          <p:cNvSpPr/>
          <p:nvPr>
            <p:custDataLst>
              <p:tags r:id="rId30"/>
            </p:custDataLst>
          </p:nvPr>
        </p:nvSpPr>
        <p:spPr bwMode="auto">
          <a:xfrm>
            <a:off x="6646982" y="503825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78" name="Полилиния 77"/>
          <p:cNvSpPr/>
          <p:nvPr>
            <p:custDataLst>
              <p:tags r:id="rId31"/>
            </p:custDataLst>
          </p:nvPr>
        </p:nvSpPr>
        <p:spPr bwMode="auto">
          <a:xfrm>
            <a:off x="8145215" y="498957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84" name="Полилиния 83"/>
          <p:cNvSpPr/>
          <p:nvPr>
            <p:custDataLst>
              <p:tags r:id="rId32"/>
            </p:custDataLst>
          </p:nvPr>
        </p:nvSpPr>
        <p:spPr bwMode="auto">
          <a:xfrm>
            <a:off x="3651869" y="510045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09" name="Полилиния 108"/>
          <p:cNvSpPr/>
          <p:nvPr>
            <p:custDataLst>
              <p:tags r:id="rId33"/>
            </p:custDataLst>
          </p:nvPr>
        </p:nvSpPr>
        <p:spPr bwMode="auto">
          <a:xfrm>
            <a:off x="8145215" y="570623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87" name="Полилиния 86"/>
          <p:cNvSpPr/>
          <p:nvPr>
            <p:custDataLst>
              <p:tags r:id="rId34"/>
            </p:custDataLst>
          </p:nvPr>
        </p:nvSpPr>
        <p:spPr bwMode="auto">
          <a:xfrm>
            <a:off x="5150102" y="510045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94" name="Полилиния 93"/>
          <p:cNvSpPr/>
          <p:nvPr>
            <p:custDataLst>
              <p:tags r:id="rId35"/>
            </p:custDataLst>
          </p:nvPr>
        </p:nvSpPr>
        <p:spPr bwMode="auto">
          <a:xfrm>
            <a:off x="8145215" y="514913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79" name="Полилиния 78"/>
          <p:cNvSpPr/>
          <p:nvPr>
            <p:custDataLst>
              <p:tags r:id="rId36"/>
            </p:custDataLst>
          </p:nvPr>
        </p:nvSpPr>
        <p:spPr bwMode="auto">
          <a:xfrm>
            <a:off x="8145215" y="503825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08" name="Полилиния 107"/>
          <p:cNvSpPr/>
          <p:nvPr>
            <p:custDataLst>
              <p:tags r:id="rId37"/>
            </p:custDataLst>
          </p:nvPr>
        </p:nvSpPr>
        <p:spPr bwMode="auto">
          <a:xfrm>
            <a:off x="8145215" y="565755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81" name="Полилиния 80"/>
          <p:cNvSpPr/>
          <p:nvPr>
            <p:custDataLst>
              <p:tags r:id="rId38"/>
            </p:custDataLst>
          </p:nvPr>
        </p:nvSpPr>
        <p:spPr bwMode="auto">
          <a:xfrm>
            <a:off x="2154988" y="510045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82" name="Полилиния 81"/>
          <p:cNvSpPr/>
          <p:nvPr>
            <p:custDataLst>
              <p:tags r:id="rId39"/>
            </p:custDataLst>
          </p:nvPr>
        </p:nvSpPr>
        <p:spPr bwMode="auto">
          <a:xfrm>
            <a:off x="2154988" y="514913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85" name="Полилиния 84"/>
          <p:cNvSpPr/>
          <p:nvPr>
            <p:custDataLst>
              <p:tags r:id="rId40"/>
            </p:custDataLst>
          </p:nvPr>
        </p:nvSpPr>
        <p:spPr bwMode="auto">
          <a:xfrm>
            <a:off x="3651869" y="514913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88" name="Полилиния 87"/>
          <p:cNvSpPr/>
          <p:nvPr>
            <p:custDataLst>
              <p:tags r:id="rId41"/>
            </p:custDataLst>
          </p:nvPr>
        </p:nvSpPr>
        <p:spPr bwMode="auto">
          <a:xfrm>
            <a:off x="5150102" y="514913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90" name="Полилиния 89"/>
          <p:cNvSpPr/>
          <p:nvPr>
            <p:custDataLst>
              <p:tags r:id="rId42"/>
            </p:custDataLst>
          </p:nvPr>
        </p:nvSpPr>
        <p:spPr bwMode="auto">
          <a:xfrm>
            <a:off x="6646982" y="510045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91" name="Полилиния 90"/>
          <p:cNvSpPr/>
          <p:nvPr>
            <p:custDataLst>
              <p:tags r:id="rId43"/>
            </p:custDataLst>
          </p:nvPr>
        </p:nvSpPr>
        <p:spPr bwMode="auto">
          <a:xfrm>
            <a:off x="6646982" y="514913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93" name="Полилиния 92"/>
          <p:cNvSpPr/>
          <p:nvPr>
            <p:custDataLst>
              <p:tags r:id="rId44"/>
            </p:custDataLst>
          </p:nvPr>
        </p:nvSpPr>
        <p:spPr bwMode="auto">
          <a:xfrm>
            <a:off x="8145215" y="510045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96" name="Полилиния 95"/>
          <p:cNvSpPr/>
          <p:nvPr>
            <p:custDataLst>
              <p:tags r:id="rId45"/>
            </p:custDataLst>
          </p:nvPr>
        </p:nvSpPr>
        <p:spPr bwMode="auto">
          <a:xfrm>
            <a:off x="2154988" y="565755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97" name="Полилиния 96"/>
          <p:cNvSpPr/>
          <p:nvPr>
            <p:custDataLst>
              <p:tags r:id="rId46"/>
            </p:custDataLst>
          </p:nvPr>
        </p:nvSpPr>
        <p:spPr bwMode="auto">
          <a:xfrm>
            <a:off x="2154988" y="570623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99" name="Полилиния 98"/>
          <p:cNvSpPr/>
          <p:nvPr>
            <p:custDataLst>
              <p:tags r:id="rId47"/>
            </p:custDataLst>
          </p:nvPr>
        </p:nvSpPr>
        <p:spPr bwMode="auto">
          <a:xfrm>
            <a:off x="3651869" y="565755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00" name="Полилиния 99"/>
          <p:cNvSpPr/>
          <p:nvPr>
            <p:custDataLst>
              <p:tags r:id="rId48"/>
            </p:custDataLst>
          </p:nvPr>
        </p:nvSpPr>
        <p:spPr bwMode="auto">
          <a:xfrm>
            <a:off x="3651869" y="570623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02" name="Полилиния 101"/>
          <p:cNvSpPr/>
          <p:nvPr>
            <p:custDataLst>
              <p:tags r:id="rId49"/>
            </p:custDataLst>
          </p:nvPr>
        </p:nvSpPr>
        <p:spPr bwMode="auto">
          <a:xfrm>
            <a:off x="5150102" y="565755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03" name="Полилиния 102"/>
          <p:cNvSpPr/>
          <p:nvPr>
            <p:custDataLst>
              <p:tags r:id="rId50"/>
            </p:custDataLst>
          </p:nvPr>
        </p:nvSpPr>
        <p:spPr bwMode="auto">
          <a:xfrm>
            <a:off x="5150102" y="570623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11" name="Полилиния 110"/>
          <p:cNvSpPr/>
          <p:nvPr>
            <p:custDataLst>
              <p:tags r:id="rId51"/>
            </p:custDataLst>
          </p:nvPr>
        </p:nvSpPr>
        <p:spPr bwMode="auto">
          <a:xfrm>
            <a:off x="2154988" y="576843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12" name="Полилиния 111"/>
          <p:cNvSpPr/>
          <p:nvPr>
            <p:custDataLst>
              <p:tags r:id="rId52"/>
            </p:custDataLst>
          </p:nvPr>
        </p:nvSpPr>
        <p:spPr bwMode="auto">
          <a:xfrm>
            <a:off x="2154988" y="581711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14" name="Полилиния 113"/>
          <p:cNvSpPr/>
          <p:nvPr>
            <p:custDataLst>
              <p:tags r:id="rId53"/>
            </p:custDataLst>
          </p:nvPr>
        </p:nvSpPr>
        <p:spPr bwMode="auto">
          <a:xfrm>
            <a:off x="3651869" y="576843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17" name="Полилиния 116"/>
          <p:cNvSpPr/>
          <p:nvPr>
            <p:custDataLst>
              <p:tags r:id="rId54"/>
            </p:custDataLst>
          </p:nvPr>
        </p:nvSpPr>
        <p:spPr bwMode="auto">
          <a:xfrm>
            <a:off x="5150102" y="576843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18" name="Полилиния 117"/>
          <p:cNvSpPr/>
          <p:nvPr>
            <p:custDataLst>
              <p:tags r:id="rId55"/>
            </p:custDataLst>
          </p:nvPr>
        </p:nvSpPr>
        <p:spPr bwMode="auto">
          <a:xfrm>
            <a:off x="5150102" y="581711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22" name="Полилиния 121"/>
          <p:cNvSpPr/>
          <p:nvPr>
            <p:custDataLst>
              <p:tags r:id="rId56"/>
            </p:custDataLst>
          </p:nvPr>
        </p:nvSpPr>
        <p:spPr bwMode="auto">
          <a:xfrm>
            <a:off x="6646982" y="581711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24" name="Полилиния 123"/>
          <p:cNvSpPr/>
          <p:nvPr>
            <p:custDataLst>
              <p:tags r:id="rId57"/>
            </p:custDataLst>
          </p:nvPr>
        </p:nvSpPr>
        <p:spPr bwMode="auto">
          <a:xfrm>
            <a:off x="8145215" y="576843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25" name="Полилиния 124"/>
          <p:cNvSpPr/>
          <p:nvPr>
            <p:custDataLst>
              <p:tags r:id="rId58"/>
            </p:custDataLst>
          </p:nvPr>
        </p:nvSpPr>
        <p:spPr bwMode="auto">
          <a:xfrm>
            <a:off x="8145215" y="581711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05" name="Полилиния 104"/>
          <p:cNvSpPr/>
          <p:nvPr>
            <p:custDataLst>
              <p:tags r:id="rId59"/>
            </p:custDataLst>
          </p:nvPr>
        </p:nvSpPr>
        <p:spPr bwMode="auto">
          <a:xfrm>
            <a:off x="6646982" y="5657558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72" name="Полилиния 71"/>
          <p:cNvSpPr/>
          <p:nvPr>
            <p:custDataLst>
              <p:tags r:id="rId60"/>
            </p:custDataLst>
          </p:nvPr>
        </p:nvSpPr>
        <p:spPr bwMode="auto">
          <a:xfrm>
            <a:off x="5150102" y="498957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106" name="Полилиния 105"/>
          <p:cNvSpPr/>
          <p:nvPr>
            <p:custDataLst>
              <p:tags r:id="rId61"/>
            </p:custDataLst>
          </p:nvPr>
        </p:nvSpPr>
        <p:spPr bwMode="auto">
          <a:xfrm>
            <a:off x="6646982" y="5706237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4" name="Полилиния 3"/>
          <p:cNvSpPr/>
          <p:nvPr>
            <p:custDataLst>
              <p:tags r:id="rId62"/>
            </p:custDataLst>
          </p:nvPr>
        </p:nvSpPr>
        <p:spPr bwMode="auto">
          <a:xfrm>
            <a:off x="2154988" y="4989573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7" name="Полилиния 6"/>
          <p:cNvSpPr/>
          <p:nvPr>
            <p:custDataLst>
              <p:tags r:id="rId63"/>
            </p:custDataLst>
          </p:nvPr>
        </p:nvSpPr>
        <p:spPr bwMode="auto">
          <a:xfrm>
            <a:off x="2154988" y="503825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70" name="Полилиния 69"/>
          <p:cNvSpPr/>
          <p:nvPr>
            <p:custDataLst>
              <p:tags r:id="rId64"/>
            </p:custDataLst>
          </p:nvPr>
        </p:nvSpPr>
        <p:spPr bwMode="auto">
          <a:xfrm>
            <a:off x="3651869" y="503825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73" name="Полилиния 72"/>
          <p:cNvSpPr/>
          <p:nvPr>
            <p:custDataLst>
              <p:tags r:id="rId65"/>
            </p:custDataLst>
          </p:nvPr>
        </p:nvSpPr>
        <p:spPr bwMode="auto">
          <a:xfrm>
            <a:off x="5150102" y="5038252"/>
            <a:ext cx="914085" cy="18932"/>
          </a:xfrm>
          <a:custGeom>
            <a:avLst/>
            <a:gdLst/>
            <a:ahLst/>
            <a:cxnLst/>
            <a:rect l="0" t="0" r="0" b="0"/>
            <a:pathLst>
              <a:path w="10731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cxnSp>
        <p:nvCxnSpPr>
          <p:cNvPr id="294" name="Прямая соединительная линия 293"/>
          <p:cNvCxnSpPr/>
          <p:nvPr>
            <p:custDataLst>
              <p:tags r:id="rId66"/>
            </p:custDataLst>
          </p:nvPr>
        </p:nvCxnSpPr>
        <p:spPr bwMode="gray">
          <a:xfrm>
            <a:off x="2612030" y="3265523"/>
            <a:ext cx="1464429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5" name="Прямая соединительная линия 294"/>
          <p:cNvCxnSpPr/>
          <p:nvPr>
            <p:custDataLst>
              <p:tags r:id="rId67"/>
            </p:custDataLst>
          </p:nvPr>
        </p:nvCxnSpPr>
        <p:spPr bwMode="gray">
          <a:xfrm>
            <a:off x="4076455" y="3265525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3" name="Прямая соединительная линия 292"/>
          <p:cNvCxnSpPr/>
          <p:nvPr>
            <p:custDataLst>
              <p:tags r:id="rId68"/>
            </p:custDataLst>
          </p:nvPr>
        </p:nvCxnSpPr>
        <p:spPr bwMode="gray">
          <a:xfrm flipV="1">
            <a:off x="2612027" y="3265525"/>
            <a:ext cx="0" cy="1074996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7" name="Прямая соединительная линия 296"/>
          <p:cNvCxnSpPr/>
          <p:nvPr>
            <p:custDataLst>
              <p:tags r:id="rId69"/>
            </p:custDataLst>
          </p:nvPr>
        </p:nvCxnSpPr>
        <p:spPr bwMode="gray">
          <a:xfrm flipV="1">
            <a:off x="4141361" y="3018075"/>
            <a:ext cx="0" cy="377263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6" name="Прямая соединительная линия 295"/>
          <p:cNvCxnSpPr/>
          <p:nvPr>
            <p:custDataLst>
              <p:tags r:id="rId70"/>
            </p:custDataLst>
          </p:nvPr>
        </p:nvCxnSpPr>
        <p:spPr bwMode="gray">
          <a:xfrm>
            <a:off x="5574688" y="3018073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8" name="Прямая соединительная линия 297"/>
          <p:cNvCxnSpPr/>
          <p:nvPr>
            <p:custDataLst>
              <p:tags r:id="rId71"/>
            </p:custDataLst>
          </p:nvPr>
        </p:nvCxnSpPr>
        <p:spPr bwMode="gray">
          <a:xfrm>
            <a:off x="4141360" y="3018072"/>
            <a:ext cx="1433328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0" name="Прямая соединительная линия 299"/>
          <p:cNvCxnSpPr/>
          <p:nvPr>
            <p:custDataLst>
              <p:tags r:id="rId72"/>
            </p:custDataLst>
          </p:nvPr>
        </p:nvCxnSpPr>
        <p:spPr bwMode="gray">
          <a:xfrm flipV="1">
            <a:off x="5639594" y="2777383"/>
            <a:ext cx="0" cy="370502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9" name="Прямая соединительная линия 298"/>
          <p:cNvCxnSpPr/>
          <p:nvPr>
            <p:custDataLst>
              <p:tags r:id="rId73"/>
            </p:custDataLst>
          </p:nvPr>
        </p:nvCxnSpPr>
        <p:spPr bwMode="gray">
          <a:xfrm>
            <a:off x="5639596" y="2777381"/>
            <a:ext cx="1431976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1" name="Прямая соединительная линия 300"/>
          <p:cNvCxnSpPr/>
          <p:nvPr>
            <p:custDataLst>
              <p:tags r:id="rId74"/>
            </p:custDataLst>
          </p:nvPr>
        </p:nvCxnSpPr>
        <p:spPr bwMode="gray">
          <a:xfrm>
            <a:off x="7071569" y="2777383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4" name="Прямая соединительная линия 303"/>
          <p:cNvCxnSpPr/>
          <p:nvPr>
            <p:custDataLst>
              <p:tags r:id="rId75"/>
            </p:custDataLst>
          </p:nvPr>
        </p:nvCxnSpPr>
        <p:spPr bwMode="gray">
          <a:xfrm>
            <a:off x="8602254" y="2354145"/>
            <a:ext cx="0" cy="129811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3" name="Прямая соединительная линия 302"/>
          <p:cNvCxnSpPr/>
          <p:nvPr>
            <p:custDataLst>
              <p:tags r:id="rId76"/>
            </p:custDataLst>
          </p:nvPr>
        </p:nvCxnSpPr>
        <p:spPr bwMode="gray">
          <a:xfrm flipV="1">
            <a:off x="7136474" y="2354145"/>
            <a:ext cx="0" cy="553049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Прямая соединительная линия 301"/>
          <p:cNvCxnSpPr/>
          <p:nvPr>
            <p:custDataLst>
              <p:tags r:id="rId77"/>
            </p:custDataLst>
          </p:nvPr>
        </p:nvCxnSpPr>
        <p:spPr bwMode="gray">
          <a:xfrm>
            <a:off x="7136474" y="2354143"/>
            <a:ext cx="1465780" cy="0"/>
          </a:xfrm>
          <a:prstGeom prst="line">
            <a:avLst/>
          </a:prstGeom>
          <a:ln w="12700" cap="flat" cmpd="sng" algn="ctr">
            <a:solidFill>
              <a:srgbClr val="45AF8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2" name="Текст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2495738" y="5903658"/>
            <a:ext cx="23257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BB93AE-A0D7-4FA8-AD55-22DCE2C2190B}" type="datetime'''''''''''''''''''''201''9'''''''''''''''''''">
              <a:rPr lang="ru-RU" altLang="en-US" sz="852">
                <a:solidFill>
                  <a:schemeClr val="tx1"/>
                </a:solidFill>
              </a:rPr>
              <a:pPr/>
              <a:t>2019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21" name="Текст 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3970984" y="5681898"/>
            <a:ext cx="275848" cy="129811"/>
          </a:xfrm>
          <a:prstGeom prst="rect">
            <a:avLst/>
          </a:prstGeom>
          <a:solidFill>
            <a:srgbClr val="4E4E4E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093DBE5-6075-4661-BE95-B29359EADAC5}" type="datetime'''''''''''''''''''''''''''''''''1'''' ''33''3'''''''''''''">
              <a:rPr lang="ru-RU" altLang="en-US" sz="852">
                <a:solidFill>
                  <a:schemeClr val="bg1"/>
                </a:solidFill>
              </a:rPr>
              <a:pPr/>
              <a:t>1 333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20" name="Текст 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4011552" y="5222153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D2195D5-56C9-43A5-B266-3E92B85480CA}" type="datetime'''''''''''''''''''''''''''2''''''''''''''''''''''4''2'''">
              <a:rPr lang="ru-RU" altLang="en-US" sz="852">
                <a:solidFill>
                  <a:schemeClr val="bg1"/>
                </a:solidFill>
              </a:rPr>
              <a:pPr/>
              <a:t>242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19" name="Текст 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3831708" y="4003824"/>
            <a:ext cx="140628" cy="1298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EF0F6F6-8F1C-47B5-91DE-492AE6C61720}" type="datetime'''''''''''''''''''''''''''1''''''7'''''''''''''''''''''''">
              <a:rPr lang="ru-RU" altLang="en-US" sz="852">
                <a:solidFill>
                  <a:schemeClr val="bg1"/>
                </a:solidFill>
              </a:rPr>
              <a:pPr/>
              <a:t>17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18" name="Текст 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4275231" y="3947032"/>
            <a:ext cx="85189" cy="129811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AE738A4-070F-483C-84EA-F2C541F9C608}" type="datetime'''''''''''''''''5'">
              <a:rPr lang="ru-RU" altLang="en-US" sz="852">
                <a:solidFill>
                  <a:schemeClr val="tx1"/>
                </a:solidFill>
              </a:rPr>
              <a:pPr/>
              <a:t>5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30" name="Текст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4038594" y="3583290"/>
            <a:ext cx="140628" cy="12981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11EC9C7-CB4F-4937-822E-59BDB1783762}" type="datetime'''''''''''''''''''2''''''''''''''''''''''''''''7'''">
              <a:rPr lang="ru-RU" altLang="en-US" sz="852">
                <a:solidFill>
                  <a:schemeClr val="tx1"/>
                </a:solidFill>
              </a:rPr>
              <a:pPr/>
              <a:t>27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17" name="Текст 2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3946645" y="5903658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5D23C5A-5A6D-46DA-BB6F-A87F0F2D6F3A}" type="datetime'2''''''0''''2''''''''''''''''0'''''' ''''''''П'''''''''''''">
              <a:rPr lang="ru-RU" altLang="en-US" sz="852" smtClean="0">
                <a:solidFill>
                  <a:schemeClr val="tx1"/>
                </a:solidFill>
              </a:rPr>
              <a:pPr/>
              <a:t>2020 П</a:t>
            </a:fld>
            <a:r>
              <a:rPr lang="ru-RU" altLang="en-US" sz="852" baseline="30000" dirty="0" smtClean="0">
                <a:solidFill>
                  <a:schemeClr val="tx1"/>
                </a:solidFill>
              </a:rPr>
              <a:t>3</a:t>
            </a:r>
            <a:endParaRPr lang="ru-RU" sz="852" baseline="30000" dirty="0">
              <a:solidFill>
                <a:schemeClr val="tx1"/>
              </a:solidFill>
            </a:endParaRPr>
          </a:p>
        </p:txBody>
      </p:sp>
      <p:sp>
        <p:nvSpPr>
          <p:cNvPr id="328" name="Текст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469217" y="5493944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0718A02-27B2-41B2-9664-6A9F1E86D17F}" type="datetime'''1'''''''''' ''''''3''''''''''''''''6''''''8'''''''''">
              <a:rPr lang="ru-RU" altLang="en-US" sz="852">
                <a:solidFill>
                  <a:schemeClr val="bg1"/>
                </a:solidFill>
              </a:rPr>
              <a:pPr/>
              <a:t>1 368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15" name="Текст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328589" y="3753667"/>
            <a:ext cx="140628" cy="1298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A7EBA01-0156-4844-BF85-71EC7715CDA7}" type="datetime'1''''''''''''''''''''''''''''''''''''''''''''''''''''''7'''">
              <a:rPr lang="ru-RU" altLang="en-US" sz="852">
                <a:solidFill>
                  <a:schemeClr val="bg1"/>
                </a:solidFill>
              </a:rPr>
              <a:pPr/>
              <a:t>17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14" name="Текст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773464" y="3696876"/>
            <a:ext cx="85189" cy="129811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8B77DC-8FDA-4D2F-B01A-412801FA8310}" type="datetime'''''''''''''''''''''''''''''''''''''''''''''5'''''''">
              <a:rPr lang="ru-RU" altLang="en-US" sz="852">
                <a:solidFill>
                  <a:schemeClr val="tx1"/>
                </a:solidFill>
              </a:rPr>
              <a:pPr/>
              <a:t>5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31" name="Текст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536827" y="3333135"/>
            <a:ext cx="140628" cy="12981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2897218-1F98-4F79-8A6A-200348E7D948}" type="datetime'''''''''''''''''''''''''''''''''2''6'''''''">
              <a:rPr lang="ru-RU" altLang="en-US" sz="852">
                <a:solidFill>
                  <a:schemeClr val="tx1"/>
                </a:solidFill>
              </a:rPr>
              <a:pPr/>
              <a:t>26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13" name="Текст 2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5444878" y="5903658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37B335-ABBB-42C7-9937-436DA6346E48}" type="datetime'''''''2''''''''''''''''''''''''021'''''''''''' П'">
              <a:rPr lang="ru-RU" altLang="en-US" sz="852">
                <a:solidFill>
                  <a:schemeClr val="tx1"/>
                </a:solidFill>
              </a:rPr>
              <a:pPr/>
              <a:t>2021 П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12" name="Текст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6966097" y="5473660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F17B50D-14B9-4647-B535-5AC7962C60BF}" type="datetime'''''''1'' ''''''''''''4''0''1'''''''''''''''''''''''''''''''''">
              <a:rPr lang="ru-RU" altLang="en-US" sz="852">
                <a:solidFill>
                  <a:schemeClr val="bg1"/>
                </a:solidFill>
              </a:rPr>
              <a:pPr/>
              <a:t>1 401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34" name="Текст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7006664" y="4805675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2E56794-E9FC-48BD-A8C4-18B100AF6CE3}" type="datetime'''''''''''''2''''''''''''''''''''5''''''''''''4'''''''''''''">
              <a:rPr lang="ru-RU" altLang="en-US" sz="852">
                <a:solidFill>
                  <a:schemeClr val="bg1"/>
                </a:solidFill>
              </a:rPr>
              <a:pPr/>
              <a:t>254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07" name="Текст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8464330" y="5403347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DD07696-80C7-437A-9A7B-4A7F85ED2F86}" type="datetime'1'''''''''''''''''''''''' ''''''4''''61'''''''''''''''''''''''">
              <a:rPr lang="ru-RU" altLang="en-US" sz="852">
                <a:solidFill>
                  <a:schemeClr val="bg1"/>
                </a:solidFill>
              </a:rPr>
              <a:pPr/>
              <a:t>1 461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16" name="Текст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509785" y="5005800"/>
            <a:ext cx="196069" cy="129811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766F5F6-24C2-4CAC-A884-0B13D3A79756}" type="datetime'''''''''2''''''''''''4''''''''''''8'''''''''''''''">
              <a:rPr lang="ru-RU" altLang="en-US" sz="852">
                <a:solidFill>
                  <a:schemeClr val="bg1"/>
                </a:solidFill>
              </a:rPr>
              <a:pPr/>
              <a:t>248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39" name="Текст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474103" y="4372974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8B1242C-DC3C-43F2-BDC5-B31E5B169F42}" type="datetime'''''''''''''''''''''''1'''' 64''''''''''''''7'''''''''''">
              <a:rPr lang="ru-RU" altLang="en-US" sz="852" b="1">
                <a:solidFill>
                  <a:schemeClr val="tx1"/>
                </a:solidFill>
              </a:rPr>
              <a:pPr/>
              <a:t>1 647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337" name="Текст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8531940" y="2669207"/>
            <a:ext cx="140628" cy="12981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9FAEBA-0905-470F-A726-DF549F32601B}" type="datetime'''''''''''''''''''''''''''''''''2''''''''''6'''''''''''''''">
              <a:rPr lang="ru-RU" altLang="en-US" sz="852">
                <a:solidFill>
                  <a:schemeClr val="tx1"/>
                </a:solidFill>
              </a:rPr>
              <a:pPr/>
              <a:t>26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40" name="Текст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3970984" y="3427787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27E610-2582-4915-9D86-9BB6FDDCAA95}" type="datetime'1'''''' ''''''''''''''''''''''''8''''''''''2''9'''''''">
              <a:rPr lang="ru-RU" altLang="en-US" sz="852" b="1">
                <a:solidFill>
                  <a:schemeClr val="tx1"/>
                </a:solidFill>
              </a:rPr>
              <a:pPr/>
              <a:t>1 829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332" name="Текст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8768578" y="3047822"/>
            <a:ext cx="85189" cy="129811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B2C1CEC-174F-4A46-9BD9-D6B39E7EEF22}" type="datetime'''''''6'''''''''''''">
              <a:rPr lang="ru-RU" altLang="en-US" sz="852">
                <a:solidFill>
                  <a:schemeClr val="tx1"/>
                </a:solidFill>
              </a:rPr>
              <a:pPr/>
              <a:t>6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36" name="Текст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469217" y="3180337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5165FA-7483-41DA-B5C0-F8A9229D994D}" type="datetime'''''''''''''''''''''''''''''''''1'''' 8''76'''''''''''">
              <a:rPr lang="ru-RU" altLang="en-US" sz="852" b="1">
                <a:solidFill>
                  <a:schemeClr val="tx1"/>
                </a:solidFill>
              </a:rPr>
              <a:pPr/>
              <a:t>1 876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338" name="Текст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8464330" y="2516407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74E9E16-C7D9-434A-B7BE-DD607D11A0F3}" type="datetime'''2'''''''''''''''''''''''''' 0''''''''''''0''4'''">
              <a:rPr lang="ru-RU" altLang="en-US" sz="852" b="1">
                <a:solidFill>
                  <a:schemeClr val="tx1"/>
                </a:solidFill>
              </a:rPr>
              <a:pPr/>
              <a:t>2 004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305" name="Текст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8323702" y="3111375"/>
            <a:ext cx="140628" cy="1298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EFFAC02-4726-44B4-B0A5-56D314D3D1EF}" type="datetime'''''''''1''''''''''''''''''''''''9'''''''''''''">
              <a:rPr lang="ru-RU" altLang="en-US" sz="852">
                <a:solidFill>
                  <a:schemeClr val="bg1"/>
                </a:solidFill>
              </a:rPr>
              <a:pPr/>
              <a:t>19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08" name="Текст 2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6941760" y="5903658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EADA40A-0E0A-435C-8D54-1AD83B01F1E3}" type="datetime'''''''''''''2''''0''''''22'''''' ''''П'''''''">
              <a:rPr lang="ru-RU" altLang="en-US" sz="852">
                <a:solidFill>
                  <a:schemeClr val="tx1"/>
                </a:solidFill>
              </a:rPr>
              <a:pPr/>
              <a:t>2022 П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06" name="Текст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8504897" y="4532533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CAE122C-42FC-485E-9499-C4C801D85334}" type="datetime'2''''''''''''''''6''''''''''5'''''''''">
              <a:rPr lang="ru-RU" altLang="en-US" sz="852">
                <a:solidFill>
                  <a:schemeClr val="bg1"/>
                </a:solidFill>
              </a:rPr>
              <a:pPr/>
              <a:t>265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26" name="Текст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2514670" y="5403347"/>
            <a:ext cx="196069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5CA9465-7D37-4EF4-8BA1-150089AB6F0C}" type="datetime'''''''''''''''''''''''2''18'''''''''''''''''''''''">
              <a:rPr lang="ru-RU" altLang="en-US" sz="852">
                <a:solidFill>
                  <a:schemeClr val="bg1"/>
                </a:solidFill>
              </a:rPr>
              <a:pPr/>
              <a:t>218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35" name="Текст 2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8439993" y="5903658"/>
            <a:ext cx="324527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676EAE-CE50-4FD3-8D14-2E96D8F85E67}" type="datetime'2''''''''0''''''''''''''''''2''''''''''''''''''3'''''''' П'''">
              <a:rPr lang="ru-RU" altLang="en-US" sz="852">
                <a:solidFill>
                  <a:schemeClr val="tx1"/>
                </a:solidFill>
              </a:rPr>
              <a:pPr/>
              <a:t>2023 П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33" name="Текст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6966097" y="2939645"/>
            <a:ext cx="275848" cy="129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875" tIns="0" rIns="148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9435F8-5894-4E9A-BF81-BA78BCDA5DD1}" type="datetime'''''''1 ''''''''''''''''''''''''''9''''2''''''''2'''">
              <a:rPr lang="ru-RU" altLang="en-US" sz="852" b="1">
                <a:solidFill>
                  <a:schemeClr val="tx1"/>
                </a:solidFill>
              </a:rPr>
              <a:pPr/>
              <a:t>1 922</a:t>
            </a:fld>
            <a:endParaRPr lang="ru-RU" sz="852" b="1" dirty="0">
              <a:solidFill>
                <a:schemeClr val="tx1"/>
              </a:solidFill>
            </a:endParaRPr>
          </a:p>
        </p:txBody>
      </p:sp>
      <p:sp>
        <p:nvSpPr>
          <p:cNvPr id="309" name="Текст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033707" y="3092444"/>
            <a:ext cx="140628" cy="12981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5E0C923-6D33-4AA4-98C6-718770F5321A}" type="datetime'''''''26'''''''''''''''''''''''''''''''''''''''''''">
              <a:rPr lang="ru-RU" altLang="en-US" sz="852">
                <a:solidFill>
                  <a:schemeClr val="tx1"/>
                </a:solidFill>
              </a:rPr>
              <a:pPr/>
              <a:t>26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27" name="Текст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2474103" y="5737339"/>
            <a:ext cx="275848" cy="129811"/>
          </a:xfrm>
          <a:prstGeom prst="rect">
            <a:avLst/>
          </a:prstGeom>
          <a:solidFill>
            <a:srgbClr val="4E4E4E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B7E86F-0E65-423A-9776-923CFF5E8499}" type="datetime'''''''''''''''''''''''''''''''''1'''''''' ''''''2''0''1'''''''">
              <a:rPr lang="ru-RU" altLang="en-US" sz="852">
                <a:solidFill>
                  <a:schemeClr val="bg1"/>
                </a:solidFill>
              </a:rPr>
              <a:pPr/>
              <a:t>1 201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25" name="Текст 2"/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2514670" y="5013914"/>
            <a:ext cx="196069" cy="129811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564ED7-2959-4828-9444-23A11A9EC18F}" type="datetime'''''''''''''''14''''''''''''''''''''''3'''''''''''''''''''''">
              <a:rPr lang="ru-RU" altLang="en-US" sz="852">
                <a:solidFill>
                  <a:schemeClr val="bg1"/>
                </a:solidFill>
              </a:rPr>
              <a:pPr/>
              <a:t>143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10" name="Текст 2"/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7270345" y="3461594"/>
            <a:ext cx="85189" cy="129811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1F17F52-1C8B-4E18-99DA-F5FC3B3543E7}" type="datetime'''''''''''''''''''6'''''''">
              <a:rPr lang="ru-RU" altLang="en-US" sz="852">
                <a:solidFill>
                  <a:schemeClr val="tx1"/>
                </a:solidFill>
              </a:rPr>
              <a:pPr/>
              <a:t>6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24" name="Текст 2"/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2333475" y="4854355"/>
            <a:ext cx="140628" cy="1298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DF2BE7-4B0B-4431-BF9D-8E6EC7B959C7}" type="datetime'''1''''''''''''''9'''''''''''''''''''''''''''''''''">
              <a:rPr lang="ru-RU" altLang="en-US" sz="852">
                <a:solidFill>
                  <a:schemeClr val="bg1"/>
                </a:solidFill>
              </a:rPr>
              <a:pPr/>
              <a:t>19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11" name="Текст 2"/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6826822" y="3522441"/>
            <a:ext cx="140628" cy="1298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3EAF80-ED98-451B-8F23-83F7CCC39723}" type="datetime'''''''''''''''''''''''''''''''''''''1''''''''''''8'''''">
              <a:rPr lang="ru-RU" altLang="en-US" sz="852">
                <a:solidFill>
                  <a:schemeClr val="bg1"/>
                </a:solidFill>
              </a:rPr>
              <a:pPr/>
              <a:t>18</a:t>
            </a:fld>
            <a:endParaRPr lang="ru-RU" sz="852" dirty="0">
              <a:solidFill>
                <a:schemeClr val="bg1"/>
              </a:solidFill>
            </a:endParaRPr>
          </a:p>
        </p:txBody>
      </p:sp>
      <p:sp>
        <p:nvSpPr>
          <p:cNvPr id="329" name="Текст 2"/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2778350" y="4793505"/>
            <a:ext cx="85189" cy="129811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205CDD4-BE98-41C5-9634-756B4617C9F1}" type="datetime'''''''''''''''''''''''''''''5'''''''''''''''''''''''''''''''">
              <a:rPr lang="ru-RU" altLang="en-US" sz="852">
                <a:solidFill>
                  <a:schemeClr val="tx1"/>
                </a:solidFill>
              </a:rPr>
              <a:pPr/>
              <a:t>5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23" name="Текст 2"/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2541713" y="4508192"/>
            <a:ext cx="140628" cy="12981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14875" tIns="0" rIns="14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B43C421-EFD1-43E7-B324-9FDC8FBDAFAC}" type="datetime'''1''''9'''''''''''''''''''''''''''''''''''''''''">
              <a:rPr lang="ru-RU" altLang="en-US" sz="852">
                <a:solidFill>
                  <a:schemeClr val="tx1"/>
                </a:solidFill>
              </a:rPr>
              <a:pPr/>
              <a:t>19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41" name="Текст 2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3171838" y="3173575"/>
            <a:ext cx="343458" cy="183899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2402626-57FC-4A4A-8C4B-D4AB97561457}" type="datetime'''''''+''''''''1''''''''''''''''''''''''''''''1''''''''%'''''">
              <a:rPr lang="ru-RU" altLang="en-US" sz="852">
                <a:solidFill>
                  <a:schemeClr val="tx1"/>
                </a:solidFill>
              </a:rPr>
              <a:pPr/>
              <a:t>+11%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42" name="Текст 2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4725509" y="2926123"/>
            <a:ext cx="265030" cy="183899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DBDECC-8019-4158-85F1-7DA96B17DD62}" type="datetime'+''''''''''3''''''''''''''%'''''''''''''''">
              <a:rPr lang="ru-RU" altLang="en-US" sz="852">
                <a:solidFill>
                  <a:schemeClr val="tx1"/>
                </a:solidFill>
              </a:rPr>
              <a:pPr/>
              <a:t>+3%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43" name="Текст 2"/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6222390" y="2685432"/>
            <a:ext cx="265030" cy="183899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A8D3E87-7523-4DB4-9210-C97F8D90E92A}" type="datetime'''''+''''''''''''2''%'''">
              <a:rPr lang="ru-RU" altLang="en-US" sz="852">
                <a:solidFill>
                  <a:schemeClr val="tx1"/>
                </a:solidFill>
              </a:rPr>
              <a:pPr/>
              <a:t>+2%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44" name="Текст 2"/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7736849" y="2262195"/>
            <a:ext cx="265030" cy="183899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45AF8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A24668-0B22-4D0E-88F6-0CB9EA6DF303}" type="datetime'''''''''''+''''''''''''''''4''''''%'''''''''''''''''">
              <a:rPr lang="ru-RU" altLang="en-US" sz="852">
                <a:solidFill>
                  <a:schemeClr val="tx1"/>
                </a:solidFill>
              </a:rPr>
              <a:pPr/>
              <a:t>+4%</a:t>
            </a:fld>
            <a:endParaRPr lang="ru-RU" sz="852" dirty="0">
              <a:solidFill>
                <a:schemeClr val="tx1"/>
              </a:solidFill>
            </a:endParaRPr>
          </a:p>
        </p:txBody>
      </p:sp>
      <p:sp>
        <p:nvSpPr>
          <p:cNvPr id="345" name="Прямоугольник 344"/>
          <p:cNvSpPr/>
          <p:nvPr>
            <p:custDataLst>
              <p:tags r:id="rId118"/>
            </p:custDataLst>
          </p:nvPr>
        </p:nvSpPr>
        <p:spPr bwMode="auto">
          <a:xfrm>
            <a:off x="684104" y="2750000"/>
            <a:ext cx="121698" cy="9059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350" name="Прямоугольник 349"/>
          <p:cNvSpPr/>
          <p:nvPr>
            <p:custDataLst>
              <p:tags r:id="rId119"/>
            </p:custDataLst>
          </p:nvPr>
        </p:nvSpPr>
        <p:spPr bwMode="auto">
          <a:xfrm>
            <a:off x="684104" y="3148897"/>
            <a:ext cx="121698" cy="90598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347" name="Прямоугольник 346"/>
          <p:cNvSpPr/>
          <p:nvPr>
            <p:custDataLst>
              <p:tags r:id="rId120"/>
            </p:custDataLst>
          </p:nvPr>
        </p:nvSpPr>
        <p:spPr bwMode="auto">
          <a:xfrm>
            <a:off x="684104" y="2307831"/>
            <a:ext cx="121698" cy="90598"/>
          </a:xfrm>
          <a:prstGeom prst="rect">
            <a:avLst/>
          </a:prstGeom>
          <a:pattFill prst="ltUpDiag">
            <a:fgClr>
              <a:srgbClr val="000000"/>
            </a:fgClr>
            <a:bgClr>
              <a:srgbClr val="FFFFFF"/>
            </a:bgClr>
          </a:patt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348" name="Прямоугольник 347"/>
          <p:cNvSpPr/>
          <p:nvPr>
            <p:custDataLst>
              <p:tags r:id="rId121"/>
            </p:custDataLst>
          </p:nvPr>
        </p:nvSpPr>
        <p:spPr bwMode="auto">
          <a:xfrm>
            <a:off x="684104" y="2602610"/>
            <a:ext cx="121698" cy="90598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346" name="Прямоугольник 345"/>
          <p:cNvSpPr/>
          <p:nvPr>
            <p:custDataLst>
              <p:tags r:id="rId122"/>
            </p:custDataLst>
          </p:nvPr>
        </p:nvSpPr>
        <p:spPr bwMode="auto">
          <a:xfrm>
            <a:off x="684104" y="2455221"/>
            <a:ext cx="121698" cy="90598"/>
          </a:xfrm>
          <a:prstGeom prst="rect">
            <a:avLst/>
          </a:prstGeom>
          <a:solidFill>
            <a:srgbClr val="D2DEE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351" name="Прямоугольник 350"/>
          <p:cNvSpPr/>
          <p:nvPr>
            <p:custDataLst>
              <p:tags r:id="rId123"/>
            </p:custDataLst>
          </p:nvPr>
        </p:nvSpPr>
        <p:spPr bwMode="auto">
          <a:xfrm>
            <a:off x="684104" y="3296287"/>
            <a:ext cx="121698" cy="90598"/>
          </a:xfrm>
          <a:prstGeom prst="rect">
            <a:avLst/>
          </a:prstGeom>
          <a:solidFill>
            <a:srgbClr val="4E4E4E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349" name="Прямоугольник 348"/>
          <p:cNvSpPr/>
          <p:nvPr>
            <p:custDataLst>
              <p:tags r:id="rId124"/>
            </p:custDataLst>
          </p:nvPr>
        </p:nvSpPr>
        <p:spPr bwMode="auto">
          <a:xfrm>
            <a:off x="684104" y="2897389"/>
            <a:ext cx="121698" cy="90598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28" tIns="61328" rIns="61328" bIns="61328" rtlCol="0" anchor="ctr"/>
          <a:lstStyle/>
          <a:p>
            <a:pPr algn="ctr"/>
            <a:endParaRPr lang="ru-RU" sz="1022" dirty="0" err="1">
              <a:solidFill>
                <a:schemeClr val="bg1"/>
              </a:solidFill>
            </a:endParaRPr>
          </a:p>
        </p:txBody>
      </p:sp>
      <p:sp>
        <p:nvSpPr>
          <p:cNvPr id="354" name="Текст 2"/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849071" y="3144841"/>
            <a:ext cx="893802" cy="104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CB9E93E-C63A-4FED-ADD1-9D12A4BE7427}" type="datetime'''''''С''''о''д''ержа''н''''''''и''е ''им''у''ще''ства'''''">
              <a:rPr lang="ru-RU" altLang="en-US" sz="681">
                <a:solidFill>
                  <a:schemeClr val="tx1"/>
                </a:solidFill>
              </a:rPr>
              <a:pPr/>
              <a:t>Содержание имущества</a:t>
            </a:fld>
            <a:endParaRPr lang="ru-RU" sz="681" dirty="0">
              <a:solidFill>
                <a:schemeClr val="tx1"/>
              </a:solidFill>
            </a:endParaRPr>
          </a:p>
        </p:txBody>
      </p:sp>
      <p:sp>
        <p:nvSpPr>
          <p:cNvPr id="352" name="Текст 2"/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849071" y="2303775"/>
            <a:ext cx="688268" cy="104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E866B5A-5A68-42CF-B2AE-64875670962C}" type="datetime'''''''П''ро''ч''''а''я'''' п''р''''''о''''''д''ук''ц''и''''я'">
              <a:rPr lang="ru-RU" altLang="en-US" sz="681">
                <a:solidFill>
                  <a:schemeClr val="tx1"/>
                </a:solidFill>
              </a:rPr>
              <a:pPr/>
              <a:t>Прочая продукция</a:t>
            </a:fld>
            <a:endParaRPr lang="ru-RU" sz="681" dirty="0">
              <a:solidFill>
                <a:schemeClr val="tx1"/>
              </a:solidFill>
            </a:endParaRPr>
          </a:p>
        </p:txBody>
      </p:sp>
      <p:sp>
        <p:nvSpPr>
          <p:cNvPr id="358" name="Текст 2"/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849071" y="2598553"/>
            <a:ext cx="692324" cy="104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26D8361-A741-48C7-B211-58546504541A}" type="datetime'''''''Ц''и''ф''ро''''вой ''''''''к''''''о''''''''нте''нт'''">
              <a:rPr lang="ru-RU" altLang="en-US" sz="681">
                <a:solidFill>
                  <a:schemeClr val="tx1"/>
                </a:solidFill>
              </a:rPr>
              <a:pPr/>
              <a:t>Цифровой контент</a:t>
            </a:fld>
            <a:endParaRPr lang="ru-RU" sz="681" dirty="0">
              <a:solidFill>
                <a:schemeClr val="tx1"/>
              </a:solidFill>
            </a:endParaRPr>
          </a:p>
        </p:txBody>
      </p:sp>
      <p:sp>
        <p:nvSpPr>
          <p:cNvPr id="356" name="Текст 2"/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849074" y="2451164"/>
            <a:ext cx="1814647" cy="104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4C939CF-F6FA-4BF9-B6C2-1F8AF72AEA2D}" type="datetime'''Осн''а''щени''е учебны''м о''бору''дова''нием и м''''ебелью'">
              <a:rPr lang="ru-RU" altLang="en-US" sz="681">
                <a:solidFill>
                  <a:schemeClr val="tx1"/>
                </a:solidFill>
              </a:rPr>
              <a:pPr/>
              <a:t>Оснащение учебным оборудованием и мебелью</a:t>
            </a:fld>
            <a:endParaRPr lang="ru-RU" sz="681" dirty="0">
              <a:solidFill>
                <a:schemeClr val="tx1"/>
              </a:solidFill>
            </a:endParaRPr>
          </a:p>
        </p:txBody>
      </p:sp>
      <p:sp>
        <p:nvSpPr>
          <p:cNvPr id="353" name="Текст 2"/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849074" y="2745941"/>
            <a:ext cx="1095279" cy="104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FC4BB31-1389-4713-A91C-5EE0DFBD7E69}" type="datetime'Печатна''я уч''еб''''ная'' ''ли''''''''''''т''е''рат''''у''ра'">
              <a:rPr lang="ru-RU" altLang="en-US" sz="681">
                <a:solidFill>
                  <a:schemeClr val="tx1"/>
                </a:solidFill>
              </a:rPr>
              <a:pPr/>
              <a:t>Печатная учебная литература</a:t>
            </a:fld>
            <a:endParaRPr lang="ru-RU" sz="681" dirty="0">
              <a:solidFill>
                <a:schemeClr val="tx1"/>
              </a:solidFill>
            </a:endParaRPr>
          </a:p>
        </p:txBody>
      </p:sp>
      <p:sp>
        <p:nvSpPr>
          <p:cNvPr id="357" name="Текст 2"/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849072" y="2893334"/>
            <a:ext cx="2236532" cy="20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6EFED93-B94E-447B-ABF6-FFE49B51115B}" type="thinkcell&lt;?xml version=&quot;1.0&quot; encoding=&quot;UTF-16&quot; standalone=&quot;yes&quot;?&gt;&lt;root reqver=&quot;27037&quot;&gt;&lt;version val=&quot;30856&quot;/&gt;&lt;PersistentType&gt;&lt;m_guid val=&quot;e0f6d008-a3c1-4355-b931-555fcb1afe3e&quot;/&gt;&lt;m_prec&gt;&lt;m_yearfmt&gt;&lt;begin val=&quot;0&quot;/&gt;&lt;end val=&quot;4&quot;/&gt;&lt;/m_yearfmt&gt;&lt;/m_prec&gt;&lt;/PersistentType&gt;&lt;/root&gt;">
              <a:rPr lang="ru-RU" altLang="en-US" sz="681">
                <a:solidFill>
                  <a:schemeClr val="tx1"/>
                </a:solidFill>
              </a:rPr>
              <a:pPr/>
              <a:t>EdTech (ИКТ-оборудование, ПО, 
продукты/услуги в области информационной безопасности)</a:t>
            </a:fld>
            <a:endParaRPr lang="ru-RU" sz="681" dirty="0">
              <a:solidFill>
                <a:schemeClr val="tx1"/>
              </a:solidFill>
            </a:endParaRPr>
          </a:p>
        </p:txBody>
      </p:sp>
      <p:sp>
        <p:nvSpPr>
          <p:cNvPr id="355" name="Текст 2"/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849071" y="3292229"/>
            <a:ext cx="1569900" cy="104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2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Wingdings" pitchFamily="2" charset="2"/>
              <a:buChar char="§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2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865B062-0D8E-48D4-AD6C-3C9C5F5E371A}" type="datetime'Расходы'' н''а пе''рсо''на''л (ф''онд о''п''л''а''ты труда)'''">
              <a:rPr lang="ru-RU" altLang="en-US" sz="681">
                <a:solidFill>
                  <a:schemeClr val="tx1"/>
                </a:solidFill>
              </a:rPr>
              <a:pPr/>
              <a:t>Расходы на персонал (фонд оплаты труда)</a:t>
            </a:fld>
            <a:endParaRPr lang="ru-RU" sz="681" dirty="0">
              <a:solidFill>
                <a:schemeClr val="tx1"/>
              </a:solidFill>
            </a:endParaRPr>
          </a:p>
        </p:txBody>
      </p:sp>
      <p:sp>
        <p:nvSpPr>
          <p:cNvPr id="364" name="Прямоугольник 363">
            <a:extLst>
              <a:ext uri="{FF2B5EF4-FFF2-40B4-BE49-F238E27FC236}">
                <a16:creationId xmlns:a16="http://schemas.microsoft.com/office/drawing/2014/main" xmlns="" id="{CECA1BB8-84CD-43EE-B041-E0D5CA0C025C}"/>
              </a:ext>
            </a:extLst>
          </p:cNvPr>
          <p:cNvSpPr/>
          <p:nvPr/>
        </p:nvSpPr>
        <p:spPr>
          <a:xfrm>
            <a:off x="1159695" y="1853499"/>
            <a:ext cx="4779936" cy="249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22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щие затраты общеобразовательных организаций, млрд </a:t>
            </a:r>
            <a:r>
              <a:rPr lang="ru-RU" sz="1022" b="1" dirty="0" smtClean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уб.</a:t>
            </a:r>
            <a:r>
              <a:rPr lang="ru-RU" sz="1022" b="1" baseline="30000" dirty="0" smtClean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, 2</a:t>
            </a:r>
            <a:endParaRPr lang="ru-RU" sz="1022" b="1" baseline="30000" dirty="0">
              <a:solidFill>
                <a:srgbClr val="364D6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65" name="Group 20">
            <a:extLst>
              <a:ext uri="{FF2B5EF4-FFF2-40B4-BE49-F238E27FC236}">
                <a16:creationId xmlns:a16="http://schemas.microsoft.com/office/drawing/2014/main" xmlns="" id="{AF923030-5377-43FB-BC1F-E1998D3BBA47}"/>
              </a:ext>
            </a:extLst>
          </p:cNvPr>
          <p:cNvGrpSpPr/>
          <p:nvPr/>
        </p:nvGrpSpPr>
        <p:grpSpPr>
          <a:xfrm>
            <a:off x="663514" y="1864985"/>
            <a:ext cx="312358" cy="244748"/>
            <a:chOff x="8202340" y="1908175"/>
            <a:chExt cx="874985" cy="685801"/>
          </a:xfrm>
          <a:solidFill>
            <a:srgbClr val="6F8DB9"/>
          </a:solidFill>
        </p:grpSpPr>
        <p:sp>
          <p:nvSpPr>
            <p:cNvPr id="366" name="Freeform 13">
              <a:extLst>
                <a:ext uri="{FF2B5EF4-FFF2-40B4-BE49-F238E27FC236}">
                  <a16:creationId xmlns:a16="http://schemas.microsoft.com/office/drawing/2014/main" xmlns="" id="{69D9B4FB-35FE-4A3E-BAC5-CC715DC41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2340" y="2327510"/>
              <a:ext cx="257175" cy="119063"/>
            </a:xfrm>
            <a:custGeom>
              <a:avLst/>
              <a:gdLst/>
              <a:ahLst/>
              <a:cxnLst>
                <a:cxn ang="0">
                  <a:pos x="642" y="272"/>
                </a:cxn>
                <a:cxn ang="0">
                  <a:pos x="592" y="284"/>
                </a:cxn>
                <a:cxn ang="0">
                  <a:pos x="539" y="291"/>
                </a:cxn>
                <a:cxn ang="0">
                  <a:pos x="482" y="297"/>
                </a:cxn>
                <a:cxn ang="0">
                  <a:pos x="424" y="298"/>
                </a:cxn>
                <a:cxn ang="0">
                  <a:pos x="381" y="297"/>
                </a:cxn>
                <a:cxn ang="0">
                  <a:pos x="298" y="290"/>
                </a:cxn>
                <a:cxn ang="0">
                  <a:pos x="222" y="276"/>
                </a:cxn>
                <a:cxn ang="0">
                  <a:pos x="154" y="257"/>
                </a:cxn>
                <a:cxn ang="0">
                  <a:pos x="97" y="232"/>
                </a:cxn>
                <a:cxn ang="0">
                  <a:pos x="61" y="210"/>
                </a:cxn>
                <a:cxn ang="0">
                  <a:pos x="41" y="194"/>
                </a:cxn>
                <a:cxn ang="0">
                  <a:pos x="26" y="179"/>
                </a:cxn>
                <a:cxn ang="0">
                  <a:pos x="13" y="161"/>
                </a:cxn>
                <a:cxn ang="0">
                  <a:pos x="4" y="143"/>
                </a:cxn>
                <a:cxn ang="0">
                  <a:pos x="0" y="125"/>
                </a:cxn>
                <a:cxn ang="0">
                  <a:pos x="0" y="0"/>
                </a:cxn>
                <a:cxn ang="0">
                  <a:pos x="10" y="11"/>
                </a:cxn>
                <a:cxn ang="0">
                  <a:pos x="33" y="31"/>
                </a:cxn>
                <a:cxn ang="0">
                  <a:pos x="60" y="50"/>
                </a:cxn>
                <a:cxn ang="0">
                  <a:pos x="93" y="67"/>
                </a:cxn>
                <a:cxn ang="0">
                  <a:pos x="109" y="75"/>
                </a:cxn>
                <a:cxn ang="0">
                  <a:pos x="167" y="96"/>
                </a:cxn>
                <a:cxn ang="0">
                  <a:pos x="230" y="111"/>
                </a:cxn>
                <a:cxn ang="0">
                  <a:pos x="297" y="123"/>
                </a:cxn>
                <a:cxn ang="0">
                  <a:pos x="366" y="129"/>
                </a:cxn>
                <a:cxn ang="0">
                  <a:pos x="436" y="132"/>
                </a:cxn>
                <a:cxn ang="0">
                  <a:pos x="507" y="128"/>
                </a:cxn>
                <a:cxn ang="0">
                  <a:pos x="575" y="119"/>
                </a:cxn>
                <a:cxn ang="0">
                  <a:pos x="641" y="107"/>
                </a:cxn>
                <a:cxn ang="0">
                  <a:pos x="641" y="203"/>
                </a:cxn>
                <a:cxn ang="0">
                  <a:pos x="641" y="203"/>
                </a:cxn>
                <a:cxn ang="0">
                  <a:pos x="641" y="214"/>
                </a:cxn>
                <a:cxn ang="0">
                  <a:pos x="645" y="236"/>
                </a:cxn>
                <a:cxn ang="0">
                  <a:pos x="649" y="246"/>
                </a:cxn>
                <a:cxn ang="0">
                  <a:pos x="642" y="272"/>
                </a:cxn>
              </a:cxnLst>
              <a:rect l="0" t="0" r="r" b="b"/>
              <a:pathLst>
                <a:path w="649" h="298">
                  <a:moveTo>
                    <a:pt x="642" y="272"/>
                  </a:moveTo>
                  <a:lnTo>
                    <a:pt x="642" y="272"/>
                  </a:lnTo>
                  <a:lnTo>
                    <a:pt x="617" y="278"/>
                  </a:lnTo>
                  <a:lnTo>
                    <a:pt x="592" y="284"/>
                  </a:lnTo>
                  <a:lnTo>
                    <a:pt x="566" y="288"/>
                  </a:lnTo>
                  <a:lnTo>
                    <a:pt x="539" y="291"/>
                  </a:lnTo>
                  <a:lnTo>
                    <a:pt x="511" y="295"/>
                  </a:lnTo>
                  <a:lnTo>
                    <a:pt x="482" y="297"/>
                  </a:lnTo>
                  <a:lnTo>
                    <a:pt x="453" y="298"/>
                  </a:lnTo>
                  <a:lnTo>
                    <a:pt x="424" y="298"/>
                  </a:lnTo>
                  <a:lnTo>
                    <a:pt x="424" y="298"/>
                  </a:lnTo>
                  <a:lnTo>
                    <a:pt x="381" y="297"/>
                  </a:lnTo>
                  <a:lnTo>
                    <a:pt x="338" y="295"/>
                  </a:lnTo>
                  <a:lnTo>
                    <a:pt x="298" y="290"/>
                  </a:lnTo>
                  <a:lnTo>
                    <a:pt x="259" y="284"/>
                  </a:lnTo>
                  <a:lnTo>
                    <a:pt x="222" y="276"/>
                  </a:lnTo>
                  <a:lnTo>
                    <a:pt x="186" y="267"/>
                  </a:lnTo>
                  <a:lnTo>
                    <a:pt x="154" y="257"/>
                  </a:lnTo>
                  <a:lnTo>
                    <a:pt x="124" y="245"/>
                  </a:lnTo>
                  <a:lnTo>
                    <a:pt x="97" y="232"/>
                  </a:lnTo>
                  <a:lnTo>
                    <a:pt x="73" y="218"/>
                  </a:lnTo>
                  <a:lnTo>
                    <a:pt x="61" y="210"/>
                  </a:lnTo>
                  <a:lnTo>
                    <a:pt x="51" y="203"/>
                  </a:lnTo>
                  <a:lnTo>
                    <a:pt x="41" y="194"/>
                  </a:lnTo>
                  <a:lnTo>
                    <a:pt x="33" y="186"/>
                  </a:lnTo>
                  <a:lnTo>
                    <a:pt x="26" y="179"/>
                  </a:lnTo>
                  <a:lnTo>
                    <a:pt x="19" y="170"/>
                  </a:lnTo>
                  <a:lnTo>
                    <a:pt x="13" y="161"/>
                  </a:lnTo>
                  <a:lnTo>
                    <a:pt x="8" y="153"/>
                  </a:lnTo>
                  <a:lnTo>
                    <a:pt x="4" y="143"/>
                  </a:lnTo>
                  <a:lnTo>
                    <a:pt x="2" y="134"/>
                  </a:lnTo>
                  <a:lnTo>
                    <a:pt x="0" y="125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0" y="11"/>
                  </a:lnTo>
                  <a:lnTo>
                    <a:pt x="21" y="21"/>
                  </a:lnTo>
                  <a:lnTo>
                    <a:pt x="33" y="31"/>
                  </a:lnTo>
                  <a:lnTo>
                    <a:pt x="47" y="40"/>
                  </a:lnTo>
                  <a:lnTo>
                    <a:pt x="60" y="50"/>
                  </a:lnTo>
                  <a:lnTo>
                    <a:pt x="76" y="58"/>
                  </a:lnTo>
                  <a:lnTo>
                    <a:pt x="93" y="67"/>
                  </a:lnTo>
                  <a:lnTo>
                    <a:pt x="109" y="75"/>
                  </a:lnTo>
                  <a:lnTo>
                    <a:pt x="109" y="75"/>
                  </a:lnTo>
                  <a:lnTo>
                    <a:pt x="137" y="86"/>
                  </a:lnTo>
                  <a:lnTo>
                    <a:pt x="167" y="96"/>
                  </a:lnTo>
                  <a:lnTo>
                    <a:pt x="199" y="105"/>
                  </a:lnTo>
                  <a:lnTo>
                    <a:pt x="230" y="111"/>
                  </a:lnTo>
                  <a:lnTo>
                    <a:pt x="263" y="118"/>
                  </a:lnTo>
                  <a:lnTo>
                    <a:pt x="297" y="123"/>
                  </a:lnTo>
                  <a:lnTo>
                    <a:pt x="332" y="127"/>
                  </a:lnTo>
                  <a:lnTo>
                    <a:pt x="366" y="129"/>
                  </a:lnTo>
                  <a:lnTo>
                    <a:pt x="401" y="132"/>
                  </a:lnTo>
                  <a:lnTo>
                    <a:pt x="436" y="132"/>
                  </a:lnTo>
                  <a:lnTo>
                    <a:pt x="471" y="130"/>
                  </a:lnTo>
                  <a:lnTo>
                    <a:pt x="507" y="128"/>
                  </a:lnTo>
                  <a:lnTo>
                    <a:pt x="541" y="125"/>
                  </a:lnTo>
                  <a:lnTo>
                    <a:pt x="575" y="119"/>
                  </a:lnTo>
                  <a:lnTo>
                    <a:pt x="608" y="114"/>
                  </a:lnTo>
                  <a:lnTo>
                    <a:pt x="641" y="107"/>
                  </a:lnTo>
                  <a:lnTo>
                    <a:pt x="641" y="107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1" y="214"/>
                  </a:lnTo>
                  <a:lnTo>
                    <a:pt x="643" y="224"/>
                  </a:lnTo>
                  <a:lnTo>
                    <a:pt x="645" y="236"/>
                  </a:lnTo>
                  <a:lnTo>
                    <a:pt x="649" y="246"/>
                  </a:lnTo>
                  <a:lnTo>
                    <a:pt x="649" y="246"/>
                  </a:lnTo>
                  <a:lnTo>
                    <a:pt x="644" y="259"/>
                  </a:lnTo>
                  <a:lnTo>
                    <a:pt x="642" y="272"/>
                  </a:lnTo>
                  <a:lnTo>
                    <a:pt x="642" y="27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1895" tIns="35948" rIns="71895" bIns="35948" numCol="1" anchor="t" anchorCtr="0" compatLnSpc="1">
              <a:prstTxWarp prst="textNoShape">
                <a:avLst/>
              </a:prstTxWarp>
            </a:bodyPr>
            <a:lstStyle/>
            <a:p>
              <a:endParaRPr lang="en-US" sz="1416"/>
            </a:p>
          </p:txBody>
        </p:sp>
        <p:sp>
          <p:nvSpPr>
            <p:cNvPr id="367" name="Freeform 14">
              <a:extLst>
                <a:ext uri="{FF2B5EF4-FFF2-40B4-BE49-F238E27FC236}">
                  <a16:creationId xmlns:a16="http://schemas.microsoft.com/office/drawing/2014/main" xmlns="" id="{1320E1C2-0F49-4F6E-B3C2-699E175057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6125" y="1908175"/>
              <a:ext cx="711200" cy="576263"/>
            </a:xfrm>
            <a:custGeom>
              <a:avLst/>
              <a:gdLst/>
              <a:ahLst/>
              <a:cxnLst>
                <a:cxn ang="0">
                  <a:pos x="1788" y="1034"/>
                </a:cxn>
                <a:cxn ang="0">
                  <a:pos x="1223" y="1367"/>
                </a:cxn>
                <a:cxn ang="0">
                  <a:pos x="1109" y="1339"/>
                </a:cxn>
                <a:cxn ang="0">
                  <a:pos x="1101" y="1382"/>
                </a:cxn>
                <a:cxn ang="0">
                  <a:pos x="1198" y="1450"/>
                </a:cxn>
                <a:cxn ang="0">
                  <a:pos x="1773" y="1131"/>
                </a:cxn>
                <a:cxn ang="0">
                  <a:pos x="1793" y="1100"/>
                </a:cxn>
                <a:cxn ang="0">
                  <a:pos x="705" y="593"/>
                </a:cxn>
                <a:cxn ang="0">
                  <a:pos x="484" y="605"/>
                </a:cxn>
                <a:cxn ang="0">
                  <a:pos x="672" y="591"/>
                </a:cxn>
                <a:cxn ang="0">
                  <a:pos x="1793" y="933"/>
                </a:cxn>
                <a:cxn ang="0">
                  <a:pos x="1783" y="969"/>
                </a:cxn>
                <a:cxn ang="0">
                  <a:pos x="1214" y="1297"/>
                </a:cxn>
                <a:cxn ang="0">
                  <a:pos x="1109" y="1220"/>
                </a:cxn>
                <a:cxn ang="0">
                  <a:pos x="1192" y="1213"/>
                </a:cxn>
                <a:cxn ang="0">
                  <a:pos x="1231" y="1208"/>
                </a:cxn>
                <a:cxn ang="0">
                  <a:pos x="1792" y="872"/>
                </a:cxn>
                <a:cxn ang="0">
                  <a:pos x="1793" y="779"/>
                </a:cxn>
                <a:cxn ang="0">
                  <a:pos x="1790" y="805"/>
                </a:cxn>
                <a:cxn ang="0">
                  <a:pos x="1231" y="1136"/>
                </a:cxn>
                <a:cxn ang="0">
                  <a:pos x="1109" y="1107"/>
                </a:cxn>
                <a:cxn ang="0">
                  <a:pos x="1214" y="1062"/>
                </a:cxn>
                <a:cxn ang="0">
                  <a:pos x="1785" y="732"/>
                </a:cxn>
                <a:cxn ang="0">
                  <a:pos x="1793" y="738"/>
                </a:cxn>
                <a:cxn ang="0">
                  <a:pos x="14" y="578"/>
                </a:cxn>
                <a:cxn ang="0">
                  <a:pos x="0" y="567"/>
                </a:cxn>
                <a:cxn ang="0">
                  <a:pos x="1" y="637"/>
                </a:cxn>
                <a:cxn ang="0">
                  <a:pos x="19" y="664"/>
                </a:cxn>
                <a:cxn ang="0">
                  <a:pos x="210" y="739"/>
                </a:cxn>
                <a:cxn ang="0">
                  <a:pos x="1793" y="584"/>
                </a:cxn>
                <a:cxn ang="0">
                  <a:pos x="1792" y="645"/>
                </a:cxn>
                <a:cxn ang="0">
                  <a:pos x="1231" y="981"/>
                </a:cxn>
                <a:cxn ang="0">
                  <a:pos x="1192" y="986"/>
                </a:cxn>
                <a:cxn ang="0">
                  <a:pos x="1109" y="923"/>
                </a:cxn>
                <a:cxn ang="0">
                  <a:pos x="1214" y="905"/>
                </a:cxn>
                <a:cxn ang="0">
                  <a:pos x="1784" y="576"/>
                </a:cxn>
                <a:cxn ang="0">
                  <a:pos x="1793" y="584"/>
                </a:cxn>
                <a:cxn ang="0">
                  <a:pos x="26" y="513"/>
                </a:cxn>
                <a:cxn ang="0">
                  <a:pos x="5" y="494"/>
                </a:cxn>
                <a:cxn ang="0">
                  <a:pos x="0" y="420"/>
                </a:cxn>
                <a:cxn ang="0">
                  <a:pos x="5" y="411"/>
                </a:cxn>
                <a:cxn ang="0">
                  <a:pos x="26" y="429"/>
                </a:cxn>
                <a:cxn ang="0">
                  <a:pos x="1214" y="841"/>
                </a:cxn>
                <a:cxn ang="0">
                  <a:pos x="1108" y="791"/>
                </a:cxn>
                <a:cxn ang="0">
                  <a:pos x="1076" y="727"/>
                </a:cxn>
                <a:cxn ang="0">
                  <a:pos x="1008" y="671"/>
                </a:cxn>
                <a:cxn ang="0">
                  <a:pos x="903" y="627"/>
                </a:cxn>
                <a:cxn ang="0">
                  <a:pos x="1368" y="297"/>
                </a:cxn>
                <a:cxn ang="0">
                  <a:pos x="1784" y="458"/>
                </a:cxn>
                <a:cxn ang="0">
                  <a:pos x="1792" y="495"/>
                </a:cxn>
                <a:cxn ang="0">
                  <a:pos x="1231" y="834"/>
                </a:cxn>
                <a:cxn ang="0">
                  <a:pos x="381" y="494"/>
                </a:cxn>
                <a:cxn ang="0">
                  <a:pos x="14" y="357"/>
                </a:cxn>
                <a:cxn ang="0">
                  <a:pos x="0" y="322"/>
                </a:cxn>
                <a:cxn ang="0">
                  <a:pos x="543" y="5"/>
                </a:cxn>
                <a:cxn ang="0">
                  <a:pos x="577" y="2"/>
                </a:cxn>
              </a:cxnLst>
              <a:rect l="0" t="0" r="r" b="b"/>
              <a:pathLst>
                <a:path w="1793" h="1451">
                  <a:moveTo>
                    <a:pt x="1793" y="1046"/>
                  </a:moveTo>
                  <a:lnTo>
                    <a:pt x="1793" y="1046"/>
                  </a:lnTo>
                  <a:lnTo>
                    <a:pt x="1793" y="1036"/>
                  </a:lnTo>
                  <a:lnTo>
                    <a:pt x="1792" y="1026"/>
                  </a:lnTo>
                  <a:lnTo>
                    <a:pt x="1792" y="1026"/>
                  </a:lnTo>
                  <a:lnTo>
                    <a:pt x="1788" y="1034"/>
                  </a:lnTo>
                  <a:lnTo>
                    <a:pt x="1785" y="1040"/>
                  </a:lnTo>
                  <a:lnTo>
                    <a:pt x="1779" y="1045"/>
                  </a:lnTo>
                  <a:lnTo>
                    <a:pt x="1773" y="1051"/>
                  </a:lnTo>
                  <a:lnTo>
                    <a:pt x="1231" y="1363"/>
                  </a:lnTo>
                  <a:lnTo>
                    <a:pt x="1231" y="1363"/>
                  </a:lnTo>
                  <a:lnTo>
                    <a:pt x="1223" y="1367"/>
                  </a:lnTo>
                  <a:lnTo>
                    <a:pt x="1214" y="1370"/>
                  </a:lnTo>
                  <a:lnTo>
                    <a:pt x="1202" y="1369"/>
                  </a:lnTo>
                  <a:lnTo>
                    <a:pt x="1198" y="1369"/>
                  </a:lnTo>
                  <a:lnTo>
                    <a:pt x="1192" y="1367"/>
                  </a:lnTo>
                  <a:lnTo>
                    <a:pt x="1109" y="1334"/>
                  </a:lnTo>
                  <a:lnTo>
                    <a:pt x="1109" y="1339"/>
                  </a:lnTo>
                  <a:lnTo>
                    <a:pt x="1109" y="1339"/>
                  </a:lnTo>
                  <a:lnTo>
                    <a:pt x="1109" y="1339"/>
                  </a:lnTo>
                  <a:lnTo>
                    <a:pt x="1109" y="1350"/>
                  </a:lnTo>
                  <a:lnTo>
                    <a:pt x="1106" y="1360"/>
                  </a:lnTo>
                  <a:lnTo>
                    <a:pt x="1104" y="1372"/>
                  </a:lnTo>
                  <a:lnTo>
                    <a:pt x="1101" y="1382"/>
                  </a:lnTo>
                  <a:lnTo>
                    <a:pt x="1101" y="1382"/>
                  </a:lnTo>
                  <a:lnTo>
                    <a:pt x="1106" y="1397"/>
                  </a:lnTo>
                  <a:lnTo>
                    <a:pt x="1109" y="1414"/>
                  </a:lnTo>
                  <a:lnTo>
                    <a:pt x="1192" y="1449"/>
                  </a:lnTo>
                  <a:lnTo>
                    <a:pt x="1192" y="1449"/>
                  </a:lnTo>
                  <a:lnTo>
                    <a:pt x="1198" y="1450"/>
                  </a:lnTo>
                  <a:lnTo>
                    <a:pt x="1202" y="1451"/>
                  </a:lnTo>
                  <a:lnTo>
                    <a:pt x="1214" y="1451"/>
                  </a:lnTo>
                  <a:lnTo>
                    <a:pt x="1223" y="1449"/>
                  </a:lnTo>
                  <a:lnTo>
                    <a:pt x="1231" y="1444"/>
                  </a:lnTo>
                  <a:lnTo>
                    <a:pt x="1773" y="1131"/>
                  </a:lnTo>
                  <a:lnTo>
                    <a:pt x="1773" y="1131"/>
                  </a:lnTo>
                  <a:lnTo>
                    <a:pt x="1778" y="1128"/>
                  </a:lnTo>
                  <a:lnTo>
                    <a:pt x="1783" y="1123"/>
                  </a:lnTo>
                  <a:lnTo>
                    <a:pt x="1786" y="1118"/>
                  </a:lnTo>
                  <a:lnTo>
                    <a:pt x="1790" y="1112"/>
                  </a:lnTo>
                  <a:lnTo>
                    <a:pt x="1792" y="1107"/>
                  </a:lnTo>
                  <a:lnTo>
                    <a:pt x="1793" y="1100"/>
                  </a:lnTo>
                  <a:lnTo>
                    <a:pt x="1793" y="1094"/>
                  </a:lnTo>
                  <a:lnTo>
                    <a:pt x="1793" y="1088"/>
                  </a:lnTo>
                  <a:lnTo>
                    <a:pt x="1793" y="1088"/>
                  </a:lnTo>
                  <a:lnTo>
                    <a:pt x="1793" y="1046"/>
                  </a:lnTo>
                  <a:lnTo>
                    <a:pt x="1793" y="1046"/>
                  </a:lnTo>
                  <a:close/>
                  <a:moveTo>
                    <a:pt x="705" y="593"/>
                  </a:moveTo>
                  <a:lnTo>
                    <a:pt x="1267" y="259"/>
                  </a:lnTo>
                  <a:lnTo>
                    <a:pt x="1054" y="180"/>
                  </a:lnTo>
                  <a:lnTo>
                    <a:pt x="453" y="536"/>
                  </a:lnTo>
                  <a:lnTo>
                    <a:pt x="453" y="612"/>
                  </a:lnTo>
                  <a:lnTo>
                    <a:pt x="453" y="612"/>
                  </a:lnTo>
                  <a:lnTo>
                    <a:pt x="484" y="605"/>
                  </a:lnTo>
                  <a:lnTo>
                    <a:pt x="514" y="600"/>
                  </a:lnTo>
                  <a:lnTo>
                    <a:pt x="545" y="597"/>
                  </a:lnTo>
                  <a:lnTo>
                    <a:pt x="576" y="594"/>
                  </a:lnTo>
                  <a:lnTo>
                    <a:pt x="609" y="593"/>
                  </a:lnTo>
                  <a:lnTo>
                    <a:pt x="640" y="591"/>
                  </a:lnTo>
                  <a:lnTo>
                    <a:pt x="672" y="591"/>
                  </a:lnTo>
                  <a:lnTo>
                    <a:pt x="705" y="593"/>
                  </a:lnTo>
                  <a:lnTo>
                    <a:pt x="705" y="593"/>
                  </a:lnTo>
                  <a:close/>
                  <a:moveTo>
                    <a:pt x="1793" y="892"/>
                  </a:moveTo>
                  <a:lnTo>
                    <a:pt x="1793" y="933"/>
                  </a:lnTo>
                  <a:lnTo>
                    <a:pt x="1793" y="933"/>
                  </a:lnTo>
                  <a:lnTo>
                    <a:pt x="1793" y="933"/>
                  </a:lnTo>
                  <a:lnTo>
                    <a:pt x="1793" y="940"/>
                  </a:lnTo>
                  <a:lnTo>
                    <a:pt x="1793" y="947"/>
                  </a:lnTo>
                  <a:lnTo>
                    <a:pt x="1792" y="952"/>
                  </a:lnTo>
                  <a:lnTo>
                    <a:pt x="1790" y="958"/>
                  </a:lnTo>
                  <a:lnTo>
                    <a:pt x="1786" y="964"/>
                  </a:lnTo>
                  <a:lnTo>
                    <a:pt x="1783" y="969"/>
                  </a:lnTo>
                  <a:lnTo>
                    <a:pt x="1778" y="974"/>
                  </a:lnTo>
                  <a:lnTo>
                    <a:pt x="1773" y="977"/>
                  </a:lnTo>
                  <a:lnTo>
                    <a:pt x="1231" y="1290"/>
                  </a:lnTo>
                  <a:lnTo>
                    <a:pt x="1231" y="1290"/>
                  </a:lnTo>
                  <a:lnTo>
                    <a:pt x="1223" y="1294"/>
                  </a:lnTo>
                  <a:lnTo>
                    <a:pt x="1214" y="1297"/>
                  </a:lnTo>
                  <a:lnTo>
                    <a:pt x="1202" y="1297"/>
                  </a:lnTo>
                  <a:lnTo>
                    <a:pt x="1198" y="1296"/>
                  </a:lnTo>
                  <a:lnTo>
                    <a:pt x="1192" y="1294"/>
                  </a:lnTo>
                  <a:lnTo>
                    <a:pt x="1109" y="1260"/>
                  </a:lnTo>
                  <a:lnTo>
                    <a:pt x="1109" y="1220"/>
                  </a:lnTo>
                  <a:lnTo>
                    <a:pt x="1109" y="1220"/>
                  </a:lnTo>
                  <a:lnTo>
                    <a:pt x="1109" y="1208"/>
                  </a:lnTo>
                  <a:lnTo>
                    <a:pt x="1108" y="1198"/>
                  </a:lnTo>
                  <a:lnTo>
                    <a:pt x="1104" y="1187"/>
                  </a:lnTo>
                  <a:lnTo>
                    <a:pt x="1101" y="1177"/>
                  </a:lnTo>
                  <a:lnTo>
                    <a:pt x="1102" y="1176"/>
                  </a:lnTo>
                  <a:lnTo>
                    <a:pt x="1192" y="1213"/>
                  </a:lnTo>
                  <a:lnTo>
                    <a:pt x="1192" y="1213"/>
                  </a:lnTo>
                  <a:lnTo>
                    <a:pt x="1198" y="1215"/>
                  </a:lnTo>
                  <a:lnTo>
                    <a:pt x="1202" y="1216"/>
                  </a:lnTo>
                  <a:lnTo>
                    <a:pt x="1214" y="1216"/>
                  </a:lnTo>
                  <a:lnTo>
                    <a:pt x="1223" y="1214"/>
                  </a:lnTo>
                  <a:lnTo>
                    <a:pt x="1231" y="1208"/>
                  </a:lnTo>
                  <a:lnTo>
                    <a:pt x="1773" y="897"/>
                  </a:lnTo>
                  <a:lnTo>
                    <a:pt x="1773" y="897"/>
                  </a:lnTo>
                  <a:lnTo>
                    <a:pt x="1779" y="892"/>
                  </a:lnTo>
                  <a:lnTo>
                    <a:pt x="1785" y="886"/>
                  </a:lnTo>
                  <a:lnTo>
                    <a:pt x="1788" y="880"/>
                  </a:lnTo>
                  <a:lnTo>
                    <a:pt x="1792" y="872"/>
                  </a:lnTo>
                  <a:lnTo>
                    <a:pt x="1792" y="872"/>
                  </a:lnTo>
                  <a:lnTo>
                    <a:pt x="1793" y="882"/>
                  </a:lnTo>
                  <a:lnTo>
                    <a:pt x="1793" y="892"/>
                  </a:lnTo>
                  <a:lnTo>
                    <a:pt x="1793" y="892"/>
                  </a:lnTo>
                  <a:close/>
                  <a:moveTo>
                    <a:pt x="1793" y="738"/>
                  </a:moveTo>
                  <a:lnTo>
                    <a:pt x="1793" y="779"/>
                  </a:lnTo>
                  <a:lnTo>
                    <a:pt x="1793" y="779"/>
                  </a:lnTo>
                  <a:lnTo>
                    <a:pt x="1793" y="779"/>
                  </a:lnTo>
                  <a:lnTo>
                    <a:pt x="1793" y="786"/>
                  </a:lnTo>
                  <a:lnTo>
                    <a:pt x="1793" y="793"/>
                  </a:lnTo>
                  <a:lnTo>
                    <a:pt x="1792" y="798"/>
                  </a:lnTo>
                  <a:lnTo>
                    <a:pt x="1790" y="805"/>
                  </a:lnTo>
                  <a:lnTo>
                    <a:pt x="1786" y="810"/>
                  </a:lnTo>
                  <a:lnTo>
                    <a:pt x="1783" y="815"/>
                  </a:lnTo>
                  <a:lnTo>
                    <a:pt x="1778" y="819"/>
                  </a:lnTo>
                  <a:lnTo>
                    <a:pt x="1773" y="824"/>
                  </a:lnTo>
                  <a:lnTo>
                    <a:pt x="1231" y="1136"/>
                  </a:lnTo>
                  <a:lnTo>
                    <a:pt x="1231" y="1136"/>
                  </a:lnTo>
                  <a:lnTo>
                    <a:pt x="1223" y="1140"/>
                  </a:lnTo>
                  <a:lnTo>
                    <a:pt x="1214" y="1144"/>
                  </a:lnTo>
                  <a:lnTo>
                    <a:pt x="1202" y="1142"/>
                  </a:lnTo>
                  <a:lnTo>
                    <a:pt x="1198" y="1142"/>
                  </a:lnTo>
                  <a:lnTo>
                    <a:pt x="1192" y="1140"/>
                  </a:lnTo>
                  <a:lnTo>
                    <a:pt x="1109" y="1107"/>
                  </a:lnTo>
                  <a:lnTo>
                    <a:pt x="1109" y="1025"/>
                  </a:lnTo>
                  <a:lnTo>
                    <a:pt x="1192" y="1059"/>
                  </a:lnTo>
                  <a:lnTo>
                    <a:pt x="1192" y="1059"/>
                  </a:lnTo>
                  <a:lnTo>
                    <a:pt x="1198" y="1061"/>
                  </a:lnTo>
                  <a:lnTo>
                    <a:pt x="1202" y="1062"/>
                  </a:lnTo>
                  <a:lnTo>
                    <a:pt x="1214" y="1062"/>
                  </a:lnTo>
                  <a:lnTo>
                    <a:pt x="1223" y="1060"/>
                  </a:lnTo>
                  <a:lnTo>
                    <a:pt x="1231" y="1055"/>
                  </a:lnTo>
                  <a:lnTo>
                    <a:pt x="1773" y="742"/>
                  </a:lnTo>
                  <a:lnTo>
                    <a:pt x="1773" y="742"/>
                  </a:lnTo>
                  <a:lnTo>
                    <a:pt x="1779" y="738"/>
                  </a:lnTo>
                  <a:lnTo>
                    <a:pt x="1785" y="732"/>
                  </a:lnTo>
                  <a:lnTo>
                    <a:pt x="1788" y="726"/>
                  </a:lnTo>
                  <a:lnTo>
                    <a:pt x="1792" y="719"/>
                  </a:lnTo>
                  <a:lnTo>
                    <a:pt x="1792" y="719"/>
                  </a:lnTo>
                  <a:lnTo>
                    <a:pt x="1793" y="728"/>
                  </a:lnTo>
                  <a:lnTo>
                    <a:pt x="1793" y="738"/>
                  </a:lnTo>
                  <a:lnTo>
                    <a:pt x="1793" y="738"/>
                  </a:lnTo>
                  <a:close/>
                  <a:moveTo>
                    <a:pt x="268" y="684"/>
                  </a:moveTo>
                  <a:lnTo>
                    <a:pt x="26" y="586"/>
                  </a:lnTo>
                  <a:lnTo>
                    <a:pt x="26" y="586"/>
                  </a:lnTo>
                  <a:lnTo>
                    <a:pt x="26" y="586"/>
                  </a:lnTo>
                  <a:lnTo>
                    <a:pt x="19" y="582"/>
                  </a:lnTo>
                  <a:lnTo>
                    <a:pt x="14" y="578"/>
                  </a:lnTo>
                  <a:lnTo>
                    <a:pt x="9" y="574"/>
                  </a:lnTo>
                  <a:lnTo>
                    <a:pt x="5" y="567"/>
                  </a:lnTo>
                  <a:lnTo>
                    <a:pt x="5" y="567"/>
                  </a:lnTo>
                  <a:lnTo>
                    <a:pt x="1" y="559"/>
                  </a:lnTo>
                  <a:lnTo>
                    <a:pt x="1" y="559"/>
                  </a:lnTo>
                  <a:lnTo>
                    <a:pt x="0" y="567"/>
                  </a:lnTo>
                  <a:lnTo>
                    <a:pt x="0" y="575"/>
                  </a:lnTo>
                  <a:lnTo>
                    <a:pt x="0" y="575"/>
                  </a:lnTo>
                  <a:lnTo>
                    <a:pt x="0" y="625"/>
                  </a:lnTo>
                  <a:lnTo>
                    <a:pt x="0" y="625"/>
                  </a:lnTo>
                  <a:lnTo>
                    <a:pt x="0" y="632"/>
                  </a:lnTo>
                  <a:lnTo>
                    <a:pt x="1" y="637"/>
                  </a:lnTo>
                  <a:lnTo>
                    <a:pt x="3" y="643"/>
                  </a:lnTo>
                  <a:lnTo>
                    <a:pt x="5" y="648"/>
                  </a:lnTo>
                  <a:lnTo>
                    <a:pt x="5" y="648"/>
                  </a:lnTo>
                  <a:lnTo>
                    <a:pt x="9" y="654"/>
                  </a:lnTo>
                  <a:lnTo>
                    <a:pt x="14" y="660"/>
                  </a:lnTo>
                  <a:lnTo>
                    <a:pt x="19" y="664"/>
                  </a:lnTo>
                  <a:lnTo>
                    <a:pt x="26" y="666"/>
                  </a:lnTo>
                  <a:lnTo>
                    <a:pt x="26" y="667"/>
                  </a:lnTo>
                  <a:lnTo>
                    <a:pt x="190" y="733"/>
                  </a:lnTo>
                  <a:lnTo>
                    <a:pt x="190" y="733"/>
                  </a:lnTo>
                  <a:lnTo>
                    <a:pt x="210" y="739"/>
                  </a:lnTo>
                  <a:lnTo>
                    <a:pt x="210" y="739"/>
                  </a:lnTo>
                  <a:lnTo>
                    <a:pt x="221" y="724"/>
                  </a:lnTo>
                  <a:lnTo>
                    <a:pt x="235" y="710"/>
                  </a:lnTo>
                  <a:lnTo>
                    <a:pt x="250" y="696"/>
                  </a:lnTo>
                  <a:lnTo>
                    <a:pt x="268" y="684"/>
                  </a:lnTo>
                  <a:lnTo>
                    <a:pt x="268" y="684"/>
                  </a:lnTo>
                  <a:close/>
                  <a:moveTo>
                    <a:pt x="1793" y="584"/>
                  </a:moveTo>
                  <a:lnTo>
                    <a:pt x="1793" y="626"/>
                  </a:lnTo>
                  <a:lnTo>
                    <a:pt x="1793" y="626"/>
                  </a:lnTo>
                  <a:lnTo>
                    <a:pt x="1793" y="626"/>
                  </a:lnTo>
                  <a:lnTo>
                    <a:pt x="1793" y="632"/>
                  </a:lnTo>
                  <a:lnTo>
                    <a:pt x="1793" y="638"/>
                  </a:lnTo>
                  <a:lnTo>
                    <a:pt x="1792" y="645"/>
                  </a:lnTo>
                  <a:lnTo>
                    <a:pt x="1790" y="651"/>
                  </a:lnTo>
                  <a:lnTo>
                    <a:pt x="1786" y="656"/>
                  </a:lnTo>
                  <a:lnTo>
                    <a:pt x="1783" y="661"/>
                  </a:lnTo>
                  <a:lnTo>
                    <a:pt x="1778" y="665"/>
                  </a:lnTo>
                  <a:lnTo>
                    <a:pt x="1773" y="670"/>
                  </a:lnTo>
                  <a:lnTo>
                    <a:pt x="1231" y="981"/>
                  </a:lnTo>
                  <a:lnTo>
                    <a:pt x="1231" y="981"/>
                  </a:lnTo>
                  <a:lnTo>
                    <a:pt x="1223" y="987"/>
                  </a:lnTo>
                  <a:lnTo>
                    <a:pt x="1214" y="989"/>
                  </a:lnTo>
                  <a:lnTo>
                    <a:pt x="1202" y="989"/>
                  </a:lnTo>
                  <a:lnTo>
                    <a:pt x="1198" y="988"/>
                  </a:lnTo>
                  <a:lnTo>
                    <a:pt x="1192" y="986"/>
                  </a:lnTo>
                  <a:lnTo>
                    <a:pt x="1108" y="951"/>
                  </a:lnTo>
                  <a:lnTo>
                    <a:pt x="1108" y="951"/>
                  </a:lnTo>
                  <a:lnTo>
                    <a:pt x="1109" y="941"/>
                  </a:lnTo>
                  <a:lnTo>
                    <a:pt x="1109" y="931"/>
                  </a:lnTo>
                  <a:lnTo>
                    <a:pt x="1109" y="931"/>
                  </a:lnTo>
                  <a:lnTo>
                    <a:pt x="1109" y="923"/>
                  </a:lnTo>
                  <a:lnTo>
                    <a:pt x="1109" y="869"/>
                  </a:lnTo>
                  <a:lnTo>
                    <a:pt x="1192" y="903"/>
                  </a:lnTo>
                  <a:lnTo>
                    <a:pt x="1192" y="903"/>
                  </a:lnTo>
                  <a:lnTo>
                    <a:pt x="1198" y="904"/>
                  </a:lnTo>
                  <a:lnTo>
                    <a:pt x="1202" y="905"/>
                  </a:lnTo>
                  <a:lnTo>
                    <a:pt x="1214" y="905"/>
                  </a:lnTo>
                  <a:lnTo>
                    <a:pt x="1223" y="903"/>
                  </a:lnTo>
                  <a:lnTo>
                    <a:pt x="1231" y="899"/>
                  </a:lnTo>
                  <a:lnTo>
                    <a:pt x="1773" y="586"/>
                  </a:lnTo>
                  <a:lnTo>
                    <a:pt x="1773" y="586"/>
                  </a:lnTo>
                  <a:lnTo>
                    <a:pt x="1779" y="581"/>
                  </a:lnTo>
                  <a:lnTo>
                    <a:pt x="1784" y="576"/>
                  </a:lnTo>
                  <a:lnTo>
                    <a:pt x="1788" y="570"/>
                  </a:lnTo>
                  <a:lnTo>
                    <a:pt x="1792" y="563"/>
                  </a:lnTo>
                  <a:lnTo>
                    <a:pt x="1792" y="563"/>
                  </a:lnTo>
                  <a:lnTo>
                    <a:pt x="1793" y="568"/>
                  </a:lnTo>
                  <a:lnTo>
                    <a:pt x="1793" y="574"/>
                  </a:lnTo>
                  <a:lnTo>
                    <a:pt x="1793" y="584"/>
                  </a:lnTo>
                  <a:lnTo>
                    <a:pt x="1793" y="584"/>
                  </a:lnTo>
                  <a:close/>
                  <a:moveTo>
                    <a:pt x="370" y="569"/>
                  </a:moveTo>
                  <a:lnTo>
                    <a:pt x="371" y="634"/>
                  </a:lnTo>
                  <a:lnTo>
                    <a:pt x="371" y="634"/>
                  </a:lnTo>
                  <a:lnTo>
                    <a:pt x="346" y="643"/>
                  </a:lnTo>
                  <a:lnTo>
                    <a:pt x="26" y="513"/>
                  </a:lnTo>
                  <a:lnTo>
                    <a:pt x="26" y="513"/>
                  </a:lnTo>
                  <a:lnTo>
                    <a:pt x="26" y="513"/>
                  </a:lnTo>
                  <a:lnTo>
                    <a:pt x="19" y="510"/>
                  </a:lnTo>
                  <a:lnTo>
                    <a:pt x="14" y="505"/>
                  </a:lnTo>
                  <a:lnTo>
                    <a:pt x="9" y="500"/>
                  </a:lnTo>
                  <a:lnTo>
                    <a:pt x="5" y="494"/>
                  </a:lnTo>
                  <a:lnTo>
                    <a:pt x="5" y="494"/>
                  </a:lnTo>
                  <a:lnTo>
                    <a:pt x="3" y="489"/>
                  </a:lnTo>
                  <a:lnTo>
                    <a:pt x="1" y="483"/>
                  </a:lnTo>
                  <a:lnTo>
                    <a:pt x="0" y="477"/>
                  </a:lnTo>
                  <a:lnTo>
                    <a:pt x="0" y="472"/>
                  </a:lnTo>
                  <a:lnTo>
                    <a:pt x="0" y="420"/>
                  </a:lnTo>
                  <a:lnTo>
                    <a:pt x="0" y="420"/>
                  </a:lnTo>
                  <a:lnTo>
                    <a:pt x="0" y="420"/>
                  </a:lnTo>
                  <a:lnTo>
                    <a:pt x="0" y="413"/>
                  </a:lnTo>
                  <a:lnTo>
                    <a:pt x="3" y="404"/>
                  </a:lnTo>
                  <a:lnTo>
                    <a:pt x="3" y="404"/>
                  </a:lnTo>
                  <a:lnTo>
                    <a:pt x="5" y="411"/>
                  </a:lnTo>
                  <a:lnTo>
                    <a:pt x="5" y="411"/>
                  </a:lnTo>
                  <a:lnTo>
                    <a:pt x="9" y="417"/>
                  </a:lnTo>
                  <a:lnTo>
                    <a:pt x="14" y="423"/>
                  </a:lnTo>
                  <a:lnTo>
                    <a:pt x="19" y="426"/>
                  </a:lnTo>
                  <a:lnTo>
                    <a:pt x="26" y="429"/>
                  </a:lnTo>
                  <a:lnTo>
                    <a:pt x="26" y="429"/>
                  </a:lnTo>
                  <a:lnTo>
                    <a:pt x="370" y="569"/>
                  </a:lnTo>
                  <a:lnTo>
                    <a:pt x="370" y="569"/>
                  </a:lnTo>
                  <a:close/>
                  <a:moveTo>
                    <a:pt x="1231" y="834"/>
                  </a:moveTo>
                  <a:lnTo>
                    <a:pt x="1231" y="834"/>
                  </a:lnTo>
                  <a:lnTo>
                    <a:pt x="1223" y="838"/>
                  </a:lnTo>
                  <a:lnTo>
                    <a:pt x="1214" y="841"/>
                  </a:lnTo>
                  <a:lnTo>
                    <a:pt x="1202" y="841"/>
                  </a:lnTo>
                  <a:lnTo>
                    <a:pt x="1198" y="840"/>
                  </a:lnTo>
                  <a:lnTo>
                    <a:pt x="1192" y="837"/>
                  </a:lnTo>
                  <a:lnTo>
                    <a:pt x="1109" y="804"/>
                  </a:lnTo>
                  <a:lnTo>
                    <a:pt x="1109" y="804"/>
                  </a:lnTo>
                  <a:lnTo>
                    <a:pt x="1108" y="791"/>
                  </a:lnTo>
                  <a:lnTo>
                    <a:pt x="1105" y="780"/>
                  </a:lnTo>
                  <a:lnTo>
                    <a:pt x="1101" y="769"/>
                  </a:lnTo>
                  <a:lnTo>
                    <a:pt x="1096" y="758"/>
                  </a:lnTo>
                  <a:lnTo>
                    <a:pt x="1091" y="747"/>
                  </a:lnTo>
                  <a:lnTo>
                    <a:pt x="1084" y="737"/>
                  </a:lnTo>
                  <a:lnTo>
                    <a:pt x="1076" y="727"/>
                  </a:lnTo>
                  <a:lnTo>
                    <a:pt x="1066" y="717"/>
                  </a:lnTo>
                  <a:lnTo>
                    <a:pt x="1057" y="707"/>
                  </a:lnTo>
                  <a:lnTo>
                    <a:pt x="1046" y="698"/>
                  </a:lnTo>
                  <a:lnTo>
                    <a:pt x="1034" y="689"/>
                  </a:lnTo>
                  <a:lnTo>
                    <a:pt x="1022" y="680"/>
                  </a:lnTo>
                  <a:lnTo>
                    <a:pt x="1008" y="671"/>
                  </a:lnTo>
                  <a:lnTo>
                    <a:pt x="994" y="663"/>
                  </a:lnTo>
                  <a:lnTo>
                    <a:pt x="978" y="656"/>
                  </a:lnTo>
                  <a:lnTo>
                    <a:pt x="962" y="648"/>
                  </a:lnTo>
                  <a:lnTo>
                    <a:pt x="962" y="648"/>
                  </a:lnTo>
                  <a:lnTo>
                    <a:pt x="933" y="637"/>
                  </a:lnTo>
                  <a:lnTo>
                    <a:pt x="903" y="627"/>
                  </a:lnTo>
                  <a:lnTo>
                    <a:pt x="871" y="618"/>
                  </a:lnTo>
                  <a:lnTo>
                    <a:pt x="839" y="610"/>
                  </a:lnTo>
                  <a:lnTo>
                    <a:pt x="1244" y="370"/>
                  </a:lnTo>
                  <a:lnTo>
                    <a:pt x="1310" y="331"/>
                  </a:lnTo>
                  <a:lnTo>
                    <a:pt x="1311" y="331"/>
                  </a:lnTo>
                  <a:lnTo>
                    <a:pt x="1368" y="297"/>
                  </a:lnTo>
                  <a:lnTo>
                    <a:pt x="1766" y="446"/>
                  </a:lnTo>
                  <a:lnTo>
                    <a:pt x="1766" y="446"/>
                  </a:lnTo>
                  <a:lnTo>
                    <a:pt x="1766" y="446"/>
                  </a:lnTo>
                  <a:lnTo>
                    <a:pt x="1773" y="449"/>
                  </a:lnTo>
                  <a:lnTo>
                    <a:pt x="1778" y="453"/>
                  </a:lnTo>
                  <a:lnTo>
                    <a:pt x="1784" y="458"/>
                  </a:lnTo>
                  <a:lnTo>
                    <a:pt x="1788" y="464"/>
                  </a:lnTo>
                  <a:lnTo>
                    <a:pt x="1788" y="464"/>
                  </a:lnTo>
                  <a:lnTo>
                    <a:pt x="1792" y="472"/>
                  </a:lnTo>
                  <a:lnTo>
                    <a:pt x="1793" y="480"/>
                  </a:lnTo>
                  <a:lnTo>
                    <a:pt x="1793" y="487"/>
                  </a:lnTo>
                  <a:lnTo>
                    <a:pt x="1792" y="495"/>
                  </a:lnTo>
                  <a:lnTo>
                    <a:pt x="1790" y="503"/>
                  </a:lnTo>
                  <a:lnTo>
                    <a:pt x="1785" y="510"/>
                  </a:lnTo>
                  <a:lnTo>
                    <a:pt x="1779" y="517"/>
                  </a:lnTo>
                  <a:lnTo>
                    <a:pt x="1773" y="521"/>
                  </a:lnTo>
                  <a:lnTo>
                    <a:pt x="1231" y="834"/>
                  </a:lnTo>
                  <a:lnTo>
                    <a:pt x="1231" y="834"/>
                  </a:lnTo>
                  <a:close/>
                  <a:moveTo>
                    <a:pt x="954" y="142"/>
                  </a:moveTo>
                  <a:lnTo>
                    <a:pt x="411" y="464"/>
                  </a:lnTo>
                  <a:lnTo>
                    <a:pt x="411" y="464"/>
                  </a:lnTo>
                  <a:lnTo>
                    <a:pt x="399" y="473"/>
                  </a:lnTo>
                  <a:lnTo>
                    <a:pt x="389" y="483"/>
                  </a:lnTo>
                  <a:lnTo>
                    <a:pt x="381" y="494"/>
                  </a:lnTo>
                  <a:lnTo>
                    <a:pt x="375" y="506"/>
                  </a:lnTo>
                  <a:lnTo>
                    <a:pt x="26" y="364"/>
                  </a:lnTo>
                  <a:lnTo>
                    <a:pt x="26" y="364"/>
                  </a:lnTo>
                  <a:lnTo>
                    <a:pt x="26" y="364"/>
                  </a:lnTo>
                  <a:lnTo>
                    <a:pt x="19" y="361"/>
                  </a:lnTo>
                  <a:lnTo>
                    <a:pt x="14" y="357"/>
                  </a:lnTo>
                  <a:lnTo>
                    <a:pt x="9" y="352"/>
                  </a:lnTo>
                  <a:lnTo>
                    <a:pt x="5" y="345"/>
                  </a:lnTo>
                  <a:lnTo>
                    <a:pt x="5" y="345"/>
                  </a:lnTo>
                  <a:lnTo>
                    <a:pt x="1" y="338"/>
                  </a:lnTo>
                  <a:lnTo>
                    <a:pt x="0" y="330"/>
                  </a:lnTo>
                  <a:lnTo>
                    <a:pt x="0" y="322"/>
                  </a:lnTo>
                  <a:lnTo>
                    <a:pt x="1" y="314"/>
                  </a:lnTo>
                  <a:lnTo>
                    <a:pt x="5" y="306"/>
                  </a:lnTo>
                  <a:lnTo>
                    <a:pt x="9" y="300"/>
                  </a:lnTo>
                  <a:lnTo>
                    <a:pt x="15" y="294"/>
                  </a:lnTo>
                  <a:lnTo>
                    <a:pt x="21" y="290"/>
                  </a:lnTo>
                  <a:lnTo>
                    <a:pt x="543" y="5"/>
                  </a:lnTo>
                  <a:lnTo>
                    <a:pt x="543" y="5"/>
                  </a:lnTo>
                  <a:lnTo>
                    <a:pt x="543" y="5"/>
                  </a:lnTo>
                  <a:lnTo>
                    <a:pt x="551" y="1"/>
                  </a:lnTo>
                  <a:lnTo>
                    <a:pt x="559" y="0"/>
                  </a:lnTo>
                  <a:lnTo>
                    <a:pt x="568" y="0"/>
                  </a:lnTo>
                  <a:lnTo>
                    <a:pt x="577" y="2"/>
                  </a:lnTo>
                  <a:lnTo>
                    <a:pt x="954" y="1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1895" tIns="35948" rIns="71895" bIns="35948" numCol="1" anchor="t" anchorCtr="0" compatLnSpc="1">
              <a:prstTxWarp prst="textNoShape">
                <a:avLst/>
              </a:prstTxWarp>
            </a:bodyPr>
            <a:lstStyle/>
            <a:p>
              <a:endParaRPr lang="en-US" sz="1416"/>
            </a:p>
          </p:txBody>
        </p:sp>
        <p:sp>
          <p:nvSpPr>
            <p:cNvPr id="368" name="Freeform 15">
              <a:extLst>
                <a:ext uri="{FF2B5EF4-FFF2-40B4-BE49-F238E27FC236}">
                  <a16:creationId xmlns:a16="http://schemas.microsoft.com/office/drawing/2014/main" xmlns="" id="{6B51A4AE-58F5-4A6A-BE3D-45B281B8B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8071" y="2179253"/>
              <a:ext cx="257175" cy="192088"/>
            </a:xfrm>
            <a:custGeom>
              <a:avLst/>
              <a:gdLst/>
              <a:ahLst/>
              <a:cxnLst>
                <a:cxn ang="0">
                  <a:pos x="617" y="465"/>
                </a:cxn>
                <a:cxn ang="0">
                  <a:pos x="539" y="477"/>
                </a:cxn>
                <a:cxn ang="0">
                  <a:pos x="453" y="484"/>
                </a:cxn>
                <a:cxn ang="0">
                  <a:pos x="381" y="484"/>
                </a:cxn>
                <a:cxn ang="0">
                  <a:pos x="259" y="470"/>
                </a:cxn>
                <a:cxn ang="0">
                  <a:pos x="154" y="442"/>
                </a:cxn>
                <a:cxn ang="0">
                  <a:pos x="73" y="403"/>
                </a:cxn>
                <a:cxn ang="0">
                  <a:pos x="41" y="381"/>
                </a:cxn>
                <a:cxn ang="0">
                  <a:pos x="19" y="355"/>
                </a:cxn>
                <a:cxn ang="0">
                  <a:pos x="4" y="329"/>
                </a:cxn>
                <a:cxn ang="0">
                  <a:pos x="0" y="301"/>
                </a:cxn>
                <a:cxn ang="0">
                  <a:pos x="0" y="182"/>
                </a:cxn>
                <a:cxn ang="0">
                  <a:pos x="4" y="154"/>
                </a:cxn>
                <a:cxn ang="0">
                  <a:pos x="19" y="128"/>
                </a:cxn>
                <a:cxn ang="0">
                  <a:pos x="41" y="102"/>
                </a:cxn>
                <a:cxn ang="0">
                  <a:pos x="73" y="80"/>
                </a:cxn>
                <a:cxn ang="0">
                  <a:pos x="154" y="41"/>
                </a:cxn>
                <a:cxn ang="0">
                  <a:pos x="259" y="13"/>
                </a:cxn>
                <a:cxn ang="0">
                  <a:pos x="381" y="0"/>
                </a:cxn>
                <a:cxn ang="0">
                  <a:pos x="454" y="0"/>
                </a:cxn>
                <a:cxn ang="0">
                  <a:pos x="542" y="6"/>
                </a:cxn>
                <a:cxn ang="0">
                  <a:pos x="623" y="20"/>
                </a:cxn>
                <a:cxn ang="0">
                  <a:pos x="644" y="35"/>
                </a:cxn>
                <a:cxn ang="0">
                  <a:pos x="641" y="64"/>
                </a:cxn>
                <a:cxn ang="0">
                  <a:pos x="593" y="53"/>
                </a:cxn>
                <a:cxn ang="0">
                  <a:pos x="512" y="43"/>
                </a:cxn>
                <a:cxn ang="0">
                  <a:pos x="424" y="39"/>
                </a:cxn>
                <a:cxn ang="0">
                  <a:pos x="350" y="41"/>
                </a:cxn>
                <a:cxn ang="0">
                  <a:pos x="251" y="54"/>
                </a:cxn>
                <a:cxn ang="0">
                  <a:pos x="167" y="77"/>
                </a:cxn>
                <a:cxn ang="0">
                  <a:pos x="105" y="106"/>
                </a:cxn>
                <a:cxn ang="0">
                  <a:pos x="73" y="135"/>
                </a:cxn>
                <a:cxn ang="0">
                  <a:pos x="63" y="154"/>
                </a:cxn>
                <a:cxn ang="0">
                  <a:pos x="60" y="167"/>
                </a:cxn>
                <a:cxn ang="0">
                  <a:pos x="65" y="186"/>
                </a:cxn>
                <a:cxn ang="0">
                  <a:pos x="77" y="205"/>
                </a:cxn>
                <a:cxn ang="0">
                  <a:pos x="123" y="239"/>
                </a:cxn>
                <a:cxn ang="0">
                  <a:pos x="193" y="266"/>
                </a:cxn>
                <a:cxn ang="0">
                  <a:pos x="282" y="285"/>
                </a:cxn>
                <a:cxn ang="0">
                  <a:pos x="387" y="294"/>
                </a:cxn>
                <a:cxn ang="0">
                  <a:pos x="454" y="295"/>
                </a:cxn>
                <a:cxn ang="0">
                  <a:pos x="540" y="288"/>
                </a:cxn>
                <a:cxn ang="0">
                  <a:pos x="617" y="276"/>
                </a:cxn>
                <a:cxn ang="0">
                  <a:pos x="641" y="270"/>
                </a:cxn>
                <a:cxn ang="0">
                  <a:pos x="641" y="389"/>
                </a:cxn>
                <a:cxn ang="0">
                  <a:pos x="641" y="400"/>
                </a:cxn>
                <a:cxn ang="0">
                  <a:pos x="649" y="431"/>
                </a:cxn>
                <a:cxn ang="0">
                  <a:pos x="642" y="458"/>
                </a:cxn>
              </a:cxnLst>
              <a:rect l="0" t="0" r="r" b="b"/>
              <a:pathLst>
                <a:path w="649" h="484">
                  <a:moveTo>
                    <a:pt x="642" y="458"/>
                  </a:moveTo>
                  <a:lnTo>
                    <a:pt x="642" y="458"/>
                  </a:lnTo>
                  <a:lnTo>
                    <a:pt x="617" y="465"/>
                  </a:lnTo>
                  <a:lnTo>
                    <a:pt x="592" y="469"/>
                  </a:lnTo>
                  <a:lnTo>
                    <a:pt x="566" y="474"/>
                  </a:lnTo>
                  <a:lnTo>
                    <a:pt x="539" y="477"/>
                  </a:lnTo>
                  <a:lnTo>
                    <a:pt x="511" y="480"/>
                  </a:lnTo>
                  <a:lnTo>
                    <a:pt x="482" y="482"/>
                  </a:lnTo>
                  <a:lnTo>
                    <a:pt x="453" y="484"/>
                  </a:lnTo>
                  <a:lnTo>
                    <a:pt x="424" y="484"/>
                  </a:lnTo>
                  <a:lnTo>
                    <a:pt x="424" y="484"/>
                  </a:lnTo>
                  <a:lnTo>
                    <a:pt x="381" y="484"/>
                  </a:lnTo>
                  <a:lnTo>
                    <a:pt x="338" y="480"/>
                  </a:lnTo>
                  <a:lnTo>
                    <a:pt x="298" y="476"/>
                  </a:lnTo>
                  <a:lnTo>
                    <a:pt x="259" y="470"/>
                  </a:lnTo>
                  <a:lnTo>
                    <a:pt x="222" y="462"/>
                  </a:lnTo>
                  <a:lnTo>
                    <a:pt x="186" y="452"/>
                  </a:lnTo>
                  <a:lnTo>
                    <a:pt x="154" y="442"/>
                  </a:lnTo>
                  <a:lnTo>
                    <a:pt x="124" y="430"/>
                  </a:lnTo>
                  <a:lnTo>
                    <a:pt x="97" y="418"/>
                  </a:lnTo>
                  <a:lnTo>
                    <a:pt x="73" y="403"/>
                  </a:lnTo>
                  <a:lnTo>
                    <a:pt x="61" y="396"/>
                  </a:lnTo>
                  <a:lnTo>
                    <a:pt x="51" y="389"/>
                  </a:lnTo>
                  <a:lnTo>
                    <a:pt x="41" y="381"/>
                  </a:lnTo>
                  <a:lnTo>
                    <a:pt x="33" y="372"/>
                  </a:lnTo>
                  <a:lnTo>
                    <a:pt x="26" y="364"/>
                  </a:lnTo>
                  <a:lnTo>
                    <a:pt x="19" y="355"/>
                  </a:lnTo>
                  <a:lnTo>
                    <a:pt x="13" y="347"/>
                  </a:lnTo>
                  <a:lnTo>
                    <a:pt x="8" y="338"/>
                  </a:lnTo>
                  <a:lnTo>
                    <a:pt x="4" y="329"/>
                  </a:lnTo>
                  <a:lnTo>
                    <a:pt x="2" y="319"/>
                  </a:lnTo>
                  <a:lnTo>
                    <a:pt x="0" y="310"/>
                  </a:lnTo>
                  <a:lnTo>
                    <a:pt x="0" y="301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73"/>
                  </a:lnTo>
                  <a:lnTo>
                    <a:pt x="2" y="164"/>
                  </a:lnTo>
                  <a:lnTo>
                    <a:pt x="4" y="154"/>
                  </a:lnTo>
                  <a:lnTo>
                    <a:pt x="8" y="145"/>
                  </a:lnTo>
                  <a:lnTo>
                    <a:pt x="13" y="136"/>
                  </a:lnTo>
                  <a:lnTo>
                    <a:pt x="19" y="128"/>
                  </a:lnTo>
                  <a:lnTo>
                    <a:pt x="26" y="119"/>
                  </a:lnTo>
                  <a:lnTo>
                    <a:pt x="33" y="111"/>
                  </a:lnTo>
                  <a:lnTo>
                    <a:pt x="41" y="102"/>
                  </a:lnTo>
                  <a:lnTo>
                    <a:pt x="51" y="95"/>
                  </a:lnTo>
                  <a:lnTo>
                    <a:pt x="61" y="87"/>
                  </a:lnTo>
                  <a:lnTo>
                    <a:pt x="73" y="80"/>
                  </a:lnTo>
                  <a:lnTo>
                    <a:pt x="96" y="66"/>
                  </a:lnTo>
                  <a:lnTo>
                    <a:pt x="124" y="53"/>
                  </a:lnTo>
                  <a:lnTo>
                    <a:pt x="154" y="41"/>
                  </a:lnTo>
                  <a:lnTo>
                    <a:pt x="186" y="31"/>
                  </a:lnTo>
                  <a:lnTo>
                    <a:pt x="222" y="21"/>
                  </a:lnTo>
                  <a:lnTo>
                    <a:pt x="259" y="13"/>
                  </a:lnTo>
                  <a:lnTo>
                    <a:pt x="298" y="7"/>
                  </a:lnTo>
                  <a:lnTo>
                    <a:pt x="338" y="3"/>
                  </a:lnTo>
                  <a:lnTo>
                    <a:pt x="381" y="0"/>
                  </a:lnTo>
                  <a:lnTo>
                    <a:pt x="424" y="0"/>
                  </a:lnTo>
                  <a:lnTo>
                    <a:pt x="424" y="0"/>
                  </a:lnTo>
                  <a:lnTo>
                    <a:pt x="454" y="0"/>
                  </a:lnTo>
                  <a:lnTo>
                    <a:pt x="484" y="1"/>
                  </a:lnTo>
                  <a:lnTo>
                    <a:pt x="513" y="3"/>
                  </a:lnTo>
                  <a:lnTo>
                    <a:pt x="542" y="6"/>
                  </a:lnTo>
                  <a:lnTo>
                    <a:pt x="569" y="10"/>
                  </a:lnTo>
                  <a:lnTo>
                    <a:pt x="596" y="15"/>
                  </a:lnTo>
                  <a:lnTo>
                    <a:pt x="623" y="20"/>
                  </a:lnTo>
                  <a:lnTo>
                    <a:pt x="647" y="26"/>
                  </a:lnTo>
                  <a:lnTo>
                    <a:pt x="647" y="26"/>
                  </a:lnTo>
                  <a:lnTo>
                    <a:pt x="644" y="35"/>
                  </a:lnTo>
                  <a:lnTo>
                    <a:pt x="642" y="45"/>
                  </a:lnTo>
                  <a:lnTo>
                    <a:pt x="641" y="54"/>
                  </a:lnTo>
                  <a:lnTo>
                    <a:pt x="641" y="64"/>
                  </a:lnTo>
                  <a:lnTo>
                    <a:pt x="641" y="64"/>
                  </a:lnTo>
                  <a:lnTo>
                    <a:pt x="617" y="59"/>
                  </a:lnTo>
                  <a:lnTo>
                    <a:pt x="593" y="53"/>
                  </a:lnTo>
                  <a:lnTo>
                    <a:pt x="567" y="49"/>
                  </a:lnTo>
                  <a:lnTo>
                    <a:pt x="540" y="45"/>
                  </a:lnTo>
                  <a:lnTo>
                    <a:pt x="512" y="43"/>
                  </a:lnTo>
                  <a:lnTo>
                    <a:pt x="483" y="41"/>
                  </a:lnTo>
                  <a:lnTo>
                    <a:pt x="454" y="40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387" y="40"/>
                  </a:lnTo>
                  <a:lnTo>
                    <a:pt x="350" y="41"/>
                  </a:lnTo>
                  <a:lnTo>
                    <a:pt x="316" y="44"/>
                  </a:lnTo>
                  <a:lnTo>
                    <a:pt x="282" y="49"/>
                  </a:lnTo>
                  <a:lnTo>
                    <a:pt x="251" y="54"/>
                  </a:lnTo>
                  <a:lnTo>
                    <a:pt x="221" y="61"/>
                  </a:lnTo>
                  <a:lnTo>
                    <a:pt x="193" y="68"/>
                  </a:lnTo>
                  <a:lnTo>
                    <a:pt x="167" y="77"/>
                  </a:lnTo>
                  <a:lnTo>
                    <a:pt x="144" y="86"/>
                  </a:lnTo>
                  <a:lnTo>
                    <a:pt x="123" y="96"/>
                  </a:lnTo>
                  <a:lnTo>
                    <a:pt x="105" y="106"/>
                  </a:lnTo>
                  <a:lnTo>
                    <a:pt x="89" y="117"/>
                  </a:lnTo>
                  <a:lnTo>
                    <a:pt x="77" y="129"/>
                  </a:lnTo>
                  <a:lnTo>
                    <a:pt x="73" y="135"/>
                  </a:lnTo>
                  <a:lnTo>
                    <a:pt x="68" y="142"/>
                  </a:lnTo>
                  <a:lnTo>
                    <a:pt x="65" y="147"/>
                  </a:lnTo>
                  <a:lnTo>
                    <a:pt x="63" y="154"/>
                  </a:lnTo>
                  <a:lnTo>
                    <a:pt x="61" y="161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1" y="173"/>
                  </a:lnTo>
                  <a:lnTo>
                    <a:pt x="63" y="180"/>
                  </a:lnTo>
                  <a:lnTo>
                    <a:pt x="65" y="186"/>
                  </a:lnTo>
                  <a:lnTo>
                    <a:pt x="68" y="193"/>
                  </a:lnTo>
                  <a:lnTo>
                    <a:pt x="73" y="199"/>
                  </a:lnTo>
                  <a:lnTo>
                    <a:pt x="77" y="205"/>
                  </a:lnTo>
                  <a:lnTo>
                    <a:pt x="89" y="216"/>
                  </a:lnTo>
                  <a:lnTo>
                    <a:pt x="105" y="228"/>
                  </a:lnTo>
                  <a:lnTo>
                    <a:pt x="123" y="239"/>
                  </a:lnTo>
                  <a:lnTo>
                    <a:pt x="144" y="248"/>
                  </a:lnTo>
                  <a:lnTo>
                    <a:pt x="167" y="258"/>
                  </a:lnTo>
                  <a:lnTo>
                    <a:pt x="193" y="266"/>
                  </a:lnTo>
                  <a:lnTo>
                    <a:pt x="221" y="272"/>
                  </a:lnTo>
                  <a:lnTo>
                    <a:pt x="251" y="279"/>
                  </a:lnTo>
                  <a:lnTo>
                    <a:pt x="282" y="285"/>
                  </a:lnTo>
                  <a:lnTo>
                    <a:pt x="316" y="289"/>
                  </a:lnTo>
                  <a:lnTo>
                    <a:pt x="350" y="292"/>
                  </a:lnTo>
                  <a:lnTo>
                    <a:pt x="387" y="294"/>
                  </a:lnTo>
                  <a:lnTo>
                    <a:pt x="424" y="295"/>
                  </a:lnTo>
                  <a:lnTo>
                    <a:pt x="424" y="295"/>
                  </a:lnTo>
                  <a:lnTo>
                    <a:pt x="454" y="295"/>
                  </a:lnTo>
                  <a:lnTo>
                    <a:pt x="483" y="292"/>
                  </a:lnTo>
                  <a:lnTo>
                    <a:pt x="512" y="291"/>
                  </a:lnTo>
                  <a:lnTo>
                    <a:pt x="540" y="288"/>
                  </a:lnTo>
                  <a:lnTo>
                    <a:pt x="567" y="285"/>
                  </a:lnTo>
                  <a:lnTo>
                    <a:pt x="593" y="280"/>
                  </a:lnTo>
                  <a:lnTo>
                    <a:pt x="617" y="276"/>
                  </a:lnTo>
                  <a:lnTo>
                    <a:pt x="641" y="270"/>
                  </a:lnTo>
                  <a:lnTo>
                    <a:pt x="641" y="270"/>
                  </a:lnTo>
                  <a:lnTo>
                    <a:pt x="641" y="270"/>
                  </a:lnTo>
                  <a:lnTo>
                    <a:pt x="641" y="329"/>
                  </a:lnTo>
                  <a:lnTo>
                    <a:pt x="641" y="389"/>
                  </a:lnTo>
                  <a:lnTo>
                    <a:pt x="641" y="389"/>
                  </a:lnTo>
                  <a:lnTo>
                    <a:pt x="641" y="389"/>
                  </a:lnTo>
                  <a:lnTo>
                    <a:pt x="641" y="389"/>
                  </a:lnTo>
                  <a:lnTo>
                    <a:pt x="641" y="400"/>
                  </a:lnTo>
                  <a:lnTo>
                    <a:pt x="643" y="411"/>
                  </a:lnTo>
                  <a:lnTo>
                    <a:pt x="645" y="421"/>
                  </a:lnTo>
                  <a:lnTo>
                    <a:pt x="649" y="431"/>
                  </a:lnTo>
                  <a:lnTo>
                    <a:pt x="649" y="431"/>
                  </a:lnTo>
                  <a:lnTo>
                    <a:pt x="644" y="444"/>
                  </a:lnTo>
                  <a:lnTo>
                    <a:pt x="642" y="458"/>
                  </a:lnTo>
                  <a:lnTo>
                    <a:pt x="642" y="45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1895" tIns="35948" rIns="71895" bIns="35948" numCol="1" anchor="t" anchorCtr="0" compatLnSpc="1">
              <a:prstTxWarp prst="textNoShape">
                <a:avLst/>
              </a:prstTxWarp>
            </a:bodyPr>
            <a:lstStyle/>
            <a:p>
              <a:endParaRPr lang="en-US" sz="1416"/>
            </a:p>
          </p:txBody>
        </p:sp>
        <p:sp>
          <p:nvSpPr>
            <p:cNvPr id="369" name="Freeform 16">
              <a:extLst>
                <a:ext uri="{FF2B5EF4-FFF2-40B4-BE49-F238E27FC236}">
                  <a16:creationId xmlns:a16="http://schemas.microsoft.com/office/drawing/2014/main" xmlns="" id="{AB7490C2-92BD-4249-A57C-523E07670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3438" y="2474913"/>
              <a:ext cx="336550" cy="119063"/>
            </a:xfrm>
            <a:custGeom>
              <a:avLst/>
              <a:gdLst/>
              <a:ahLst/>
              <a:cxnLst>
                <a:cxn ang="0">
                  <a:pos x="848" y="115"/>
                </a:cxn>
                <a:cxn ang="0">
                  <a:pos x="848" y="124"/>
                </a:cxn>
                <a:cxn ang="0">
                  <a:pos x="843" y="143"/>
                </a:cxn>
                <a:cxn ang="0">
                  <a:pos x="834" y="161"/>
                </a:cxn>
                <a:cxn ang="0">
                  <a:pos x="822" y="177"/>
                </a:cxn>
                <a:cxn ang="0">
                  <a:pos x="807" y="194"/>
                </a:cxn>
                <a:cxn ang="0">
                  <a:pos x="786" y="210"/>
                </a:cxn>
                <a:cxn ang="0">
                  <a:pos x="752" y="231"/>
                </a:cxn>
                <a:cxn ang="0">
                  <a:pos x="694" y="256"/>
                </a:cxn>
                <a:cxn ang="0">
                  <a:pos x="626" y="276"/>
                </a:cxn>
                <a:cxn ang="0">
                  <a:pos x="550" y="289"/>
                </a:cxn>
                <a:cxn ang="0">
                  <a:pos x="467" y="297"/>
                </a:cxn>
                <a:cxn ang="0">
                  <a:pos x="424" y="298"/>
                </a:cxn>
                <a:cxn ang="0">
                  <a:pos x="338" y="294"/>
                </a:cxn>
                <a:cxn ang="0">
                  <a:pos x="258" y="283"/>
                </a:cxn>
                <a:cxn ang="0">
                  <a:pos x="186" y="267"/>
                </a:cxn>
                <a:cxn ang="0">
                  <a:pos x="123" y="244"/>
                </a:cxn>
                <a:cxn ang="0">
                  <a:pos x="72" y="216"/>
                </a:cxn>
                <a:cxn ang="0">
                  <a:pos x="51" y="202"/>
                </a:cxn>
                <a:cxn ang="0">
                  <a:pos x="33" y="186"/>
                </a:cxn>
                <a:cxn ang="0">
                  <a:pos x="19" y="169"/>
                </a:cxn>
                <a:cxn ang="0">
                  <a:pos x="8" y="152"/>
                </a:cxn>
                <a:cxn ang="0">
                  <a:pos x="2" y="134"/>
                </a:cxn>
                <a:cxn ang="0">
                  <a:pos x="0" y="115"/>
                </a:cxn>
                <a:cxn ang="0">
                  <a:pos x="0" y="0"/>
                </a:cxn>
                <a:cxn ang="0">
                  <a:pos x="21" y="20"/>
                </a:cxn>
                <a:cxn ang="0">
                  <a:pos x="46" y="40"/>
                </a:cxn>
                <a:cxn ang="0">
                  <a:pos x="75" y="58"/>
                </a:cxn>
                <a:cxn ang="0">
                  <a:pos x="109" y="73"/>
                </a:cxn>
                <a:cxn ang="0">
                  <a:pos x="144" y="87"/>
                </a:cxn>
                <a:cxn ang="0">
                  <a:pos x="217" y="108"/>
                </a:cxn>
                <a:cxn ang="0">
                  <a:pos x="298" y="123"/>
                </a:cxn>
                <a:cxn ang="0">
                  <a:pos x="381" y="129"/>
                </a:cxn>
                <a:cxn ang="0">
                  <a:pos x="466" y="129"/>
                </a:cxn>
                <a:cxn ang="0">
                  <a:pos x="550" y="123"/>
                </a:cxn>
                <a:cxn ang="0">
                  <a:pos x="630" y="108"/>
                </a:cxn>
                <a:cxn ang="0">
                  <a:pos x="704" y="87"/>
                </a:cxn>
                <a:cxn ang="0">
                  <a:pos x="738" y="73"/>
                </a:cxn>
                <a:cxn ang="0">
                  <a:pos x="772" y="58"/>
                </a:cxn>
                <a:cxn ang="0">
                  <a:pos x="801" y="40"/>
                </a:cxn>
                <a:cxn ang="0">
                  <a:pos x="827" y="20"/>
                </a:cxn>
                <a:cxn ang="0">
                  <a:pos x="848" y="0"/>
                </a:cxn>
              </a:cxnLst>
              <a:rect l="0" t="0" r="r" b="b"/>
              <a:pathLst>
                <a:path w="848" h="298">
                  <a:moveTo>
                    <a:pt x="848" y="0"/>
                  </a:moveTo>
                  <a:lnTo>
                    <a:pt x="848" y="115"/>
                  </a:lnTo>
                  <a:lnTo>
                    <a:pt x="848" y="115"/>
                  </a:lnTo>
                  <a:lnTo>
                    <a:pt x="848" y="124"/>
                  </a:lnTo>
                  <a:lnTo>
                    <a:pt x="846" y="134"/>
                  </a:lnTo>
                  <a:lnTo>
                    <a:pt x="843" y="143"/>
                  </a:lnTo>
                  <a:lnTo>
                    <a:pt x="840" y="152"/>
                  </a:lnTo>
                  <a:lnTo>
                    <a:pt x="834" y="161"/>
                  </a:lnTo>
                  <a:lnTo>
                    <a:pt x="829" y="169"/>
                  </a:lnTo>
                  <a:lnTo>
                    <a:pt x="822" y="177"/>
                  </a:lnTo>
                  <a:lnTo>
                    <a:pt x="815" y="186"/>
                  </a:lnTo>
                  <a:lnTo>
                    <a:pt x="807" y="194"/>
                  </a:lnTo>
                  <a:lnTo>
                    <a:pt x="796" y="202"/>
                  </a:lnTo>
                  <a:lnTo>
                    <a:pt x="786" y="210"/>
                  </a:lnTo>
                  <a:lnTo>
                    <a:pt x="775" y="216"/>
                  </a:lnTo>
                  <a:lnTo>
                    <a:pt x="752" y="231"/>
                  </a:lnTo>
                  <a:lnTo>
                    <a:pt x="724" y="244"/>
                  </a:lnTo>
                  <a:lnTo>
                    <a:pt x="694" y="256"/>
                  </a:lnTo>
                  <a:lnTo>
                    <a:pt x="661" y="267"/>
                  </a:lnTo>
                  <a:lnTo>
                    <a:pt x="626" y="276"/>
                  </a:lnTo>
                  <a:lnTo>
                    <a:pt x="589" y="283"/>
                  </a:lnTo>
                  <a:lnTo>
                    <a:pt x="550" y="289"/>
                  </a:lnTo>
                  <a:lnTo>
                    <a:pt x="510" y="294"/>
                  </a:lnTo>
                  <a:lnTo>
                    <a:pt x="467" y="297"/>
                  </a:lnTo>
                  <a:lnTo>
                    <a:pt x="424" y="298"/>
                  </a:lnTo>
                  <a:lnTo>
                    <a:pt x="424" y="298"/>
                  </a:lnTo>
                  <a:lnTo>
                    <a:pt x="380" y="297"/>
                  </a:lnTo>
                  <a:lnTo>
                    <a:pt x="338" y="294"/>
                  </a:lnTo>
                  <a:lnTo>
                    <a:pt x="298" y="289"/>
                  </a:lnTo>
                  <a:lnTo>
                    <a:pt x="258" y="283"/>
                  </a:lnTo>
                  <a:lnTo>
                    <a:pt x="222" y="276"/>
                  </a:lnTo>
                  <a:lnTo>
                    <a:pt x="186" y="267"/>
                  </a:lnTo>
                  <a:lnTo>
                    <a:pt x="154" y="256"/>
                  </a:lnTo>
                  <a:lnTo>
                    <a:pt x="123" y="244"/>
                  </a:lnTo>
                  <a:lnTo>
                    <a:pt x="97" y="231"/>
                  </a:lnTo>
                  <a:lnTo>
                    <a:pt x="72" y="216"/>
                  </a:lnTo>
                  <a:lnTo>
                    <a:pt x="61" y="210"/>
                  </a:lnTo>
                  <a:lnTo>
                    <a:pt x="51" y="202"/>
                  </a:lnTo>
                  <a:lnTo>
                    <a:pt x="41" y="194"/>
                  </a:lnTo>
                  <a:lnTo>
                    <a:pt x="33" y="186"/>
                  </a:lnTo>
                  <a:lnTo>
                    <a:pt x="25" y="177"/>
                  </a:lnTo>
                  <a:lnTo>
                    <a:pt x="19" y="169"/>
                  </a:lnTo>
                  <a:lnTo>
                    <a:pt x="13" y="161"/>
                  </a:lnTo>
                  <a:lnTo>
                    <a:pt x="8" y="152"/>
                  </a:lnTo>
                  <a:lnTo>
                    <a:pt x="4" y="143"/>
                  </a:lnTo>
                  <a:lnTo>
                    <a:pt x="2" y="134"/>
                  </a:lnTo>
                  <a:lnTo>
                    <a:pt x="0" y="124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21" y="20"/>
                  </a:lnTo>
                  <a:lnTo>
                    <a:pt x="33" y="30"/>
                  </a:lnTo>
                  <a:lnTo>
                    <a:pt x="46" y="40"/>
                  </a:lnTo>
                  <a:lnTo>
                    <a:pt x="61" y="49"/>
                  </a:lnTo>
                  <a:lnTo>
                    <a:pt x="75" y="58"/>
                  </a:lnTo>
                  <a:lnTo>
                    <a:pt x="92" y="66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44" y="87"/>
                  </a:lnTo>
                  <a:lnTo>
                    <a:pt x="179" y="98"/>
                  </a:lnTo>
                  <a:lnTo>
                    <a:pt x="217" y="108"/>
                  </a:lnTo>
                  <a:lnTo>
                    <a:pt x="257" y="116"/>
                  </a:lnTo>
                  <a:lnTo>
                    <a:pt x="298" y="123"/>
                  </a:lnTo>
                  <a:lnTo>
                    <a:pt x="339" y="127"/>
                  </a:lnTo>
                  <a:lnTo>
                    <a:pt x="381" y="129"/>
                  </a:lnTo>
                  <a:lnTo>
                    <a:pt x="424" y="130"/>
                  </a:lnTo>
                  <a:lnTo>
                    <a:pt x="466" y="129"/>
                  </a:lnTo>
                  <a:lnTo>
                    <a:pt x="509" y="127"/>
                  </a:lnTo>
                  <a:lnTo>
                    <a:pt x="550" y="123"/>
                  </a:lnTo>
                  <a:lnTo>
                    <a:pt x="590" y="116"/>
                  </a:lnTo>
                  <a:lnTo>
                    <a:pt x="630" y="108"/>
                  </a:lnTo>
                  <a:lnTo>
                    <a:pt x="668" y="98"/>
                  </a:lnTo>
                  <a:lnTo>
                    <a:pt x="704" y="87"/>
                  </a:lnTo>
                  <a:lnTo>
                    <a:pt x="738" y="73"/>
                  </a:lnTo>
                  <a:lnTo>
                    <a:pt x="738" y="73"/>
                  </a:lnTo>
                  <a:lnTo>
                    <a:pt x="755" y="66"/>
                  </a:lnTo>
                  <a:lnTo>
                    <a:pt x="772" y="58"/>
                  </a:lnTo>
                  <a:lnTo>
                    <a:pt x="788" y="49"/>
                  </a:lnTo>
                  <a:lnTo>
                    <a:pt x="801" y="40"/>
                  </a:lnTo>
                  <a:lnTo>
                    <a:pt x="814" y="30"/>
                  </a:lnTo>
                  <a:lnTo>
                    <a:pt x="827" y="20"/>
                  </a:lnTo>
                  <a:lnTo>
                    <a:pt x="838" y="10"/>
                  </a:lnTo>
                  <a:lnTo>
                    <a:pt x="848" y="0"/>
                  </a:lnTo>
                  <a:lnTo>
                    <a:pt x="8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1895" tIns="35948" rIns="71895" bIns="35948" numCol="1" anchor="t" anchorCtr="0" compatLnSpc="1">
              <a:prstTxWarp prst="textNoShape">
                <a:avLst/>
              </a:prstTxWarp>
            </a:bodyPr>
            <a:lstStyle/>
            <a:p>
              <a:endParaRPr lang="en-US" sz="1416"/>
            </a:p>
          </p:txBody>
        </p:sp>
        <p:sp>
          <p:nvSpPr>
            <p:cNvPr id="370" name="Freeform 17">
              <a:extLst>
                <a:ext uri="{FF2B5EF4-FFF2-40B4-BE49-F238E27FC236}">
                  <a16:creationId xmlns:a16="http://schemas.microsoft.com/office/drawing/2014/main" xmlns="" id="{4C96954E-421C-44BD-81D3-5E8070D8D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3438" y="2393950"/>
              <a:ext cx="336550" cy="119063"/>
            </a:xfrm>
            <a:custGeom>
              <a:avLst/>
              <a:gdLst/>
              <a:ahLst/>
              <a:cxnLst>
                <a:cxn ang="0">
                  <a:pos x="848" y="115"/>
                </a:cxn>
                <a:cxn ang="0">
                  <a:pos x="848" y="125"/>
                </a:cxn>
                <a:cxn ang="0">
                  <a:pos x="843" y="143"/>
                </a:cxn>
                <a:cxn ang="0">
                  <a:pos x="834" y="161"/>
                </a:cxn>
                <a:cxn ang="0">
                  <a:pos x="822" y="178"/>
                </a:cxn>
                <a:cxn ang="0">
                  <a:pos x="807" y="195"/>
                </a:cxn>
                <a:cxn ang="0">
                  <a:pos x="786" y="210"/>
                </a:cxn>
                <a:cxn ang="0">
                  <a:pos x="752" y="231"/>
                </a:cxn>
                <a:cxn ang="0">
                  <a:pos x="694" y="256"/>
                </a:cxn>
                <a:cxn ang="0">
                  <a:pos x="626" y="276"/>
                </a:cxn>
                <a:cxn ang="0">
                  <a:pos x="550" y="290"/>
                </a:cxn>
                <a:cxn ang="0">
                  <a:pos x="467" y="297"/>
                </a:cxn>
                <a:cxn ang="0">
                  <a:pos x="424" y="298"/>
                </a:cxn>
                <a:cxn ang="0">
                  <a:pos x="338" y="294"/>
                </a:cxn>
                <a:cxn ang="0">
                  <a:pos x="258" y="284"/>
                </a:cxn>
                <a:cxn ang="0">
                  <a:pos x="186" y="267"/>
                </a:cxn>
                <a:cxn ang="0">
                  <a:pos x="123" y="245"/>
                </a:cxn>
                <a:cxn ang="0">
                  <a:pos x="72" y="218"/>
                </a:cxn>
                <a:cxn ang="0">
                  <a:pos x="51" y="202"/>
                </a:cxn>
                <a:cxn ang="0">
                  <a:pos x="33" y="187"/>
                </a:cxn>
                <a:cxn ang="0">
                  <a:pos x="19" y="170"/>
                </a:cxn>
                <a:cxn ang="0">
                  <a:pos x="8" y="152"/>
                </a:cxn>
                <a:cxn ang="0">
                  <a:pos x="2" y="134"/>
                </a:cxn>
                <a:cxn ang="0">
                  <a:pos x="0" y="115"/>
                </a:cxn>
                <a:cxn ang="0">
                  <a:pos x="0" y="0"/>
                </a:cxn>
                <a:cxn ang="0">
                  <a:pos x="21" y="21"/>
                </a:cxn>
                <a:cxn ang="0">
                  <a:pos x="46" y="40"/>
                </a:cxn>
                <a:cxn ang="0">
                  <a:pos x="75" y="58"/>
                </a:cxn>
                <a:cxn ang="0">
                  <a:pos x="109" y="74"/>
                </a:cxn>
                <a:cxn ang="0">
                  <a:pos x="144" y="87"/>
                </a:cxn>
                <a:cxn ang="0">
                  <a:pos x="217" y="108"/>
                </a:cxn>
                <a:cxn ang="0">
                  <a:pos x="298" y="123"/>
                </a:cxn>
                <a:cxn ang="0">
                  <a:pos x="381" y="131"/>
                </a:cxn>
                <a:cxn ang="0">
                  <a:pos x="466" y="131"/>
                </a:cxn>
                <a:cxn ang="0">
                  <a:pos x="550" y="123"/>
                </a:cxn>
                <a:cxn ang="0">
                  <a:pos x="630" y="108"/>
                </a:cxn>
                <a:cxn ang="0">
                  <a:pos x="704" y="87"/>
                </a:cxn>
                <a:cxn ang="0">
                  <a:pos x="738" y="74"/>
                </a:cxn>
                <a:cxn ang="0">
                  <a:pos x="772" y="58"/>
                </a:cxn>
                <a:cxn ang="0">
                  <a:pos x="801" y="40"/>
                </a:cxn>
                <a:cxn ang="0">
                  <a:pos x="827" y="21"/>
                </a:cxn>
                <a:cxn ang="0">
                  <a:pos x="848" y="0"/>
                </a:cxn>
              </a:cxnLst>
              <a:rect l="0" t="0" r="r" b="b"/>
              <a:pathLst>
                <a:path w="848" h="298">
                  <a:moveTo>
                    <a:pt x="848" y="0"/>
                  </a:moveTo>
                  <a:lnTo>
                    <a:pt x="848" y="115"/>
                  </a:lnTo>
                  <a:lnTo>
                    <a:pt x="848" y="115"/>
                  </a:lnTo>
                  <a:lnTo>
                    <a:pt x="848" y="125"/>
                  </a:lnTo>
                  <a:lnTo>
                    <a:pt x="846" y="134"/>
                  </a:lnTo>
                  <a:lnTo>
                    <a:pt x="843" y="143"/>
                  </a:lnTo>
                  <a:lnTo>
                    <a:pt x="840" y="152"/>
                  </a:lnTo>
                  <a:lnTo>
                    <a:pt x="834" y="161"/>
                  </a:lnTo>
                  <a:lnTo>
                    <a:pt x="829" y="170"/>
                  </a:lnTo>
                  <a:lnTo>
                    <a:pt x="822" y="178"/>
                  </a:lnTo>
                  <a:lnTo>
                    <a:pt x="815" y="187"/>
                  </a:lnTo>
                  <a:lnTo>
                    <a:pt x="807" y="195"/>
                  </a:lnTo>
                  <a:lnTo>
                    <a:pt x="796" y="202"/>
                  </a:lnTo>
                  <a:lnTo>
                    <a:pt x="786" y="210"/>
                  </a:lnTo>
                  <a:lnTo>
                    <a:pt x="775" y="218"/>
                  </a:lnTo>
                  <a:lnTo>
                    <a:pt x="752" y="231"/>
                  </a:lnTo>
                  <a:lnTo>
                    <a:pt x="724" y="245"/>
                  </a:lnTo>
                  <a:lnTo>
                    <a:pt x="694" y="256"/>
                  </a:lnTo>
                  <a:lnTo>
                    <a:pt x="661" y="267"/>
                  </a:lnTo>
                  <a:lnTo>
                    <a:pt x="626" y="276"/>
                  </a:lnTo>
                  <a:lnTo>
                    <a:pt x="589" y="284"/>
                  </a:lnTo>
                  <a:lnTo>
                    <a:pt x="550" y="290"/>
                  </a:lnTo>
                  <a:lnTo>
                    <a:pt x="510" y="294"/>
                  </a:lnTo>
                  <a:lnTo>
                    <a:pt x="467" y="297"/>
                  </a:lnTo>
                  <a:lnTo>
                    <a:pt x="424" y="298"/>
                  </a:lnTo>
                  <a:lnTo>
                    <a:pt x="424" y="298"/>
                  </a:lnTo>
                  <a:lnTo>
                    <a:pt x="380" y="297"/>
                  </a:lnTo>
                  <a:lnTo>
                    <a:pt x="338" y="294"/>
                  </a:lnTo>
                  <a:lnTo>
                    <a:pt x="298" y="290"/>
                  </a:lnTo>
                  <a:lnTo>
                    <a:pt x="258" y="284"/>
                  </a:lnTo>
                  <a:lnTo>
                    <a:pt x="222" y="276"/>
                  </a:lnTo>
                  <a:lnTo>
                    <a:pt x="186" y="267"/>
                  </a:lnTo>
                  <a:lnTo>
                    <a:pt x="154" y="256"/>
                  </a:lnTo>
                  <a:lnTo>
                    <a:pt x="123" y="245"/>
                  </a:lnTo>
                  <a:lnTo>
                    <a:pt x="97" y="231"/>
                  </a:lnTo>
                  <a:lnTo>
                    <a:pt x="72" y="218"/>
                  </a:lnTo>
                  <a:lnTo>
                    <a:pt x="61" y="210"/>
                  </a:lnTo>
                  <a:lnTo>
                    <a:pt x="51" y="202"/>
                  </a:lnTo>
                  <a:lnTo>
                    <a:pt x="41" y="195"/>
                  </a:lnTo>
                  <a:lnTo>
                    <a:pt x="33" y="187"/>
                  </a:lnTo>
                  <a:lnTo>
                    <a:pt x="25" y="178"/>
                  </a:lnTo>
                  <a:lnTo>
                    <a:pt x="19" y="170"/>
                  </a:lnTo>
                  <a:lnTo>
                    <a:pt x="13" y="161"/>
                  </a:lnTo>
                  <a:lnTo>
                    <a:pt x="8" y="152"/>
                  </a:lnTo>
                  <a:lnTo>
                    <a:pt x="4" y="143"/>
                  </a:lnTo>
                  <a:lnTo>
                    <a:pt x="2" y="134"/>
                  </a:lnTo>
                  <a:lnTo>
                    <a:pt x="0" y="125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21" y="21"/>
                  </a:lnTo>
                  <a:lnTo>
                    <a:pt x="33" y="30"/>
                  </a:lnTo>
                  <a:lnTo>
                    <a:pt x="46" y="40"/>
                  </a:lnTo>
                  <a:lnTo>
                    <a:pt x="61" y="49"/>
                  </a:lnTo>
                  <a:lnTo>
                    <a:pt x="75" y="58"/>
                  </a:lnTo>
                  <a:lnTo>
                    <a:pt x="92" y="66"/>
                  </a:lnTo>
                  <a:lnTo>
                    <a:pt x="109" y="74"/>
                  </a:lnTo>
                  <a:lnTo>
                    <a:pt x="109" y="74"/>
                  </a:lnTo>
                  <a:lnTo>
                    <a:pt x="144" y="87"/>
                  </a:lnTo>
                  <a:lnTo>
                    <a:pt x="179" y="100"/>
                  </a:lnTo>
                  <a:lnTo>
                    <a:pt x="217" y="108"/>
                  </a:lnTo>
                  <a:lnTo>
                    <a:pt x="257" y="117"/>
                  </a:lnTo>
                  <a:lnTo>
                    <a:pt x="298" y="123"/>
                  </a:lnTo>
                  <a:lnTo>
                    <a:pt x="339" y="127"/>
                  </a:lnTo>
                  <a:lnTo>
                    <a:pt x="381" y="131"/>
                  </a:lnTo>
                  <a:lnTo>
                    <a:pt x="424" y="131"/>
                  </a:lnTo>
                  <a:lnTo>
                    <a:pt x="466" y="131"/>
                  </a:lnTo>
                  <a:lnTo>
                    <a:pt x="509" y="127"/>
                  </a:lnTo>
                  <a:lnTo>
                    <a:pt x="550" y="123"/>
                  </a:lnTo>
                  <a:lnTo>
                    <a:pt x="590" y="117"/>
                  </a:lnTo>
                  <a:lnTo>
                    <a:pt x="630" y="108"/>
                  </a:lnTo>
                  <a:lnTo>
                    <a:pt x="668" y="100"/>
                  </a:lnTo>
                  <a:lnTo>
                    <a:pt x="704" y="87"/>
                  </a:lnTo>
                  <a:lnTo>
                    <a:pt x="738" y="74"/>
                  </a:lnTo>
                  <a:lnTo>
                    <a:pt x="738" y="74"/>
                  </a:lnTo>
                  <a:lnTo>
                    <a:pt x="755" y="66"/>
                  </a:lnTo>
                  <a:lnTo>
                    <a:pt x="772" y="58"/>
                  </a:lnTo>
                  <a:lnTo>
                    <a:pt x="788" y="49"/>
                  </a:lnTo>
                  <a:lnTo>
                    <a:pt x="801" y="40"/>
                  </a:lnTo>
                  <a:lnTo>
                    <a:pt x="814" y="30"/>
                  </a:lnTo>
                  <a:lnTo>
                    <a:pt x="827" y="21"/>
                  </a:lnTo>
                  <a:lnTo>
                    <a:pt x="838" y="10"/>
                  </a:lnTo>
                  <a:lnTo>
                    <a:pt x="848" y="0"/>
                  </a:lnTo>
                  <a:lnTo>
                    <a:pt x="8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1895" tIns="35948" rIns="71895" bIns="35948" numCol="1" anchor="t" anchorCtr="0" compatLnSpc="1">
              <a:prstTxWarp prst="textNoShape">
                <a:avLst/>
              </a:prstTxWarp>
            </a:bodyPr>
            <a:lstStyle/>
            <a:p>
              <a:endParaRPr lang="en-US" sz="1416"/>
            </a:p>
          </p:txBody>
        </p:sp>
        <p:sp>
          <p:nvSpPr>
            <p:cNvPr id="371" name="Freeform 18">
              <a:extLst>
                <a:ext uri="{FF2B5EF4-FFF2-40B4-BE49-F238E27FC236}">
                  <a16:creationId xmlns:a16="http://schemas.microsoft.com/office/drawing/2014/main" xmlns="" id="{C4628669-FEBF-4E31-AF5B-6553E54AD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3438" y="2312988"/>
              <a:ext cx="336550" cy="119063"/>
            </a:xfrm>
            <a:custGeom>
              <a:avLst/>
              <a:gdLst/>
              <a:ahLst/>
              <a:cxnLst>
                <a:cxn ang="0">
                  <a:pos x="848" y="116"/>
                </a:cxn>
                <a:cxn ang="0">
                  <a:pos x="848" y="126"/>
                </a:cxn>
                <a:cxn ang="0">
                  <a:pos x="843" y="144"/>
                </a:cxn>
                <a:cxn ang="0">
                  <a:pos x="834" y="161"/>
                </a:cxn>
                <a:cxn ang="0">
                  <a:pos x="822" y="179"/>
                </a:cxn>
                <a:cxn ang="0">
                  <a:pos x="807" y="195"/>
                </a:cxn>
                <a:cxn ang="0">
                  <a:pos x="786" y="211"/>
                </a:cxn>
                <a:cxn ang="0">
                  <a:pos x="752" y="232"/>
                </a:cxn>
                <a:cxn ang="0">
                  <a:pos x="694" y="258"/>
                </a:cxn>
                <a:cxn ang="0">
                  <a:pos x="626" y="277"/>
                </a:cxn>
                <a:cxn ang="0">
                  <a:pos x="550" y="291"/>
                </a:cxn>
                <a:cxn ang="0">
                  <a:pos x="467" y="298"/>
                </a:cxn>
                <a:cxn ang="0">
                  <a:pos x="424" y="299"/>
                </a:cxn>
                <a:cxn ang="0">
                  <a:pos x="338" y="296"/>
                </a:cxn>
                <a:cxn ang="0">
                  <a:pos x="258" y="284"/>
                </a:cxn>
                <a:cxn ang="0">
                  <a:pos x="186" y="268"/>
                </a:cxn>
                <a:cxn ang="0">
                  <a:pos x="123" y="245"/>
                </a:cxn>
                <a:cxn ang="0">
                  <a:pos x="72" y="218"/>
                </a:cxn>
                <a:cxn ang="0">
                  <a:pos x="51" y="203"/>
                </a:cxn>
                <a:cxn ang="0">
                  <a:pos x="33" y="187"/>
                </a:cxn>
                <a:cxn ang="0">
                  <a:pos x="19" y="170"/>
                </a:cxn>
                <a:cxn ang="0">
                  <a:pos x="8" y="152"/>
                </a:cxn>
                <a:cxn ang="0">
                  <a:pos x="2" y="135"/>
                </a:cxn>
                <a:cxn ang="0">
                  <a:pos x="0" y="116"/>
                </a:cxn>
                <a:cxn ang="0">
                  <a:pos x="0" y="0"/>
                </a:cxn>
                <a:cxn ang="0">
                  <a:pos x="21" y="22"/>
                </a:cxn>
                <a:cxn ang="0">
                  <a:pos x="46" y="41"/>
                </a:cxn>
                <a:cxn ang="0">
                  <a:pos x="75" y="59"/>
                </a:cxn>
                <a:cxn ang="0">
                  <a:pos x="109" y="74"/>
                </a:cxn>
                <a:cxn ang="0">
                  <a:pos x="144" y="88"/>
                </a:cxn>
                <a:cxn ang="0">
                  <a:pos x="217" y="110"/>
                </a:cxn>
                <a:cxn ang="0">
                  <a:pos x="298" y="123"/>
                </a:cxn>
                <a:cxn ang="0">
                  <a:pos x="381" y="131"/>
                </a:cxn>
                <a:cxn ang="0">
                  <a:pos x="466" y="131"/>
                </a:cxn>
                <a:cxn ang="0">
                  <a:pos x="550" y="123"/>
                </a:cxn>
                <a:cxn ang="0">
                  <a:pos x="630" y="110"/>
                </a:cxn>
                <a:cxn ang="0">
                  <a:pos x="704" y="88"/>
                </a:cxn>
                <a:cxn ang="0">
                  <a:pos x="738" y="74"/>
                </a:cxn>
                <a:cxn ang="0">
                  <a:pos x="772" y="59"/>
                </a:cxn>
                <a:cxn ang="0">
                  <a:pos x="801" y="41"/>
                </a:cxn>
                <a:cxn ang="0">
                  <a:pos x="827" y="22"/>
                </a:cxn>
                <a:cxn ang="0">
                  <a:pos x="848" y="0"/>
                </a:cxn>
              </a:cxnLst>
              <a:rect l="0" t="0" r="r" b="b"/>
              <a:pathLst>
                <a:path w="848" h="299">
                  <a:moveTo>
                    <a:pt x="848" y="0"/>
                  </a:moveTo>
                  <a:lnTo>
                    <a:pt x="848" y="116"/>
                  </a:lnTo>
                  <a:lnTo>
                    <a:pt x="848" y="116"/>
                  </a:lnTo>
                  <a:lnTo>
                    <a:pt x="848" y="126"/>
                  </a:lnTo>
                  <a:lnTo>
                    <a:pt x="846" y="135"/>
                  </a:lnTo>
                  <a:lnTo>
                    <a:pt x="843" y="144"/>
                  </a:lnTo>
                  <a:lnTo>
                    <a:pt x="840" y="152"/>
                  </a:lnTo>
                  <a:lnTo>
                    <a:pt x="834" y="161"/>
                  </a:lnTo>
                  <a:lnTo>
                    <a:pt x="829" y="170"/>
                  </a:lnTo>
                  <a:lnTo>
                    <a:pt x="822" y="179"/>
                  </a:lnTo>
                  <a:lnTo>
                    <a:pt x="815" y="187"/>
                  </a:lnTo>
                  <a:lnTo>
                    <a:pt x="807" y="195"/>
                  </a:lnTo>
                  <a:lnTo>
                    <a:pt x="796" y="203"/>
                  </a:lnTo>
                  <a:lnTo>
                    <a:pt x="786" y="211"/>
                  </a:lnTo>
                  <a:lnTo>
                    <a:pt x="775" y="218"/>
                  </a:lnTo>
                  <a:lnTo>
                    <a:pt x="752" y="232"/>
                  </a:lnTo>
                  <a:lnTo>
                    <a:pt x="724" y="245"/>
                  </a:lnTo>
                  <a:lnTo>
                    <a:pt x="694" y="258"/>
                  </a:lnTo>
                  <a:lnTo>
                    <a:pt x="661" y="268"/>
                  </a:lnTo>
                  <a:lnTo>
                    <a:pt x="626" y="277"/>
                  </a:lnTo>
                  <a:lnTo>
                    <a:pt x="589" y="284"/>
                  </a:lnTo>
                  <a:lnTo>
                    <a:pt x="550" y="291"/>
                  </a:lnTo>
                  <a:lnTo>
                    <a:pt x="510" y="296"/>
                  </a:lnTo>
                  <a:lnTo>
                    <a:pt x="467" y="298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380" y="298"/>
                  </a:lnTo>
                  <a:lnTo>
                    <a:pt x="338" y="296"/>
                  </a:lnTo>
                  <a:lnTo>
                    <a:pt x="298" y="291"/>
                  </a:lnTo>
                  <a:lnTo>
                    <a:pt x="258" y="284"/>
                  </a:lnTo>
                  <a:lnTo>
                    <a:pt x="222" y="277"/>
                  </a:lnTo>
                  <a:lnTo>
                    <a:pt x="186" y="268"/>
                  </a:lnTo>
                  <a:lnTo>
                    <a:pt x="154" y="258"/>
                  </a:lnTo>
                  <a:lnTo>
                    <a:pt x="123" y="245"/>
                  </a:lnTo>
                  <a:lnTo>
                    <a:pt x="97" y="232"/>
                  </a:lnTo>
                  <a:lnTo>
                    <a:pt x="72" y="218"/>
                  </a:lnTo>
                  <a:lnTo>
                    <a:pt x="61" y="211"/>
                  </a:lnTo>
                  <a:lnTo>
                    <a:pt x="51" y="203"/>
                  </a:lnTo>
                  <a:lnTo>
                    <a:pt x="41" y="195"/>
                  </a:lnTo>
                  <a:lnTo>
                    <a:pt x="33" y="187"/>
                  </a:lnTo>
                  <a:lnTo>
                    <a:pt x="25" y="179"/>
                  </a:lnTo>
                  <a:lnTo>
                    <a:pt x="19" y="170"/>
                  </a:lnTo>
                  <a:lnTo>
                    <a:pt x="13" y="161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2" y="135"/>
                  </a:lnTo>
                  <a:lnTo>
                    <a:pt x="0" y="12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0" y="12"/>
                  </a:lnTo>
                  <a:lnTo>
                    <a:pt x="21" y="22"/>
                  </a:lnTo>
                  <a:lnTo>
                    <a:pt x="33" y="32"/>
                  </a:lnTo>
                  <a:lnTo>
                    <a:pt x="46" y="41"/>
                  </a:lnTo>
                  <a:lnTo>
                    <a:pt x="61" y="50"/>
                  </a:lnTo>
                  <a:lnTo>
                    <a:pt x="75" y="59"/>
                  </a:lnTo>
                  <a:lnTo>
                    <a:pt x="92" y="66"/>
                  </a:lnTo>
                  <a:lnTo>
                    <a:pt x="109" y="74"/>
                  </a:lnTo>
                  <a:lnTo>
                    <a:pt x="109" y="74"/>
                  </a:lnTo>
                  <a:lnTo>
                    <a:pt x="144" y="88"/>
                  </a:lnTo>
                  <a:lnTo>
                    <a:pt x="179" y="100"/>
                  </a:lnTo>
                  <a:lnTo>
                    <a:pt x="217" y="110"/>
                  </a:lnTo>
                  <a:lnTo>
                    <a:pt x="257" y="118"/>
                  </a:lnTo>
                  <a:lnTo>
                    <a:pt x="298" y="123"/>
                  </a:lnTo>
                  <a:lnTo>
                    <a:pt x="339" y="128"/>
                  </a:lnTo>
                  <a:lnTo>
                    <a:pt x="381" y="131"/>
                  </a:lnTo>
                  <a:lnTo>
                    <a:pt x="424" y="132"/>
                  </a:lnTo>
                  <a:lnTo>
                    <a:pt x="466" y="131"/>
                  </a:lnTo>
                  <a:lnTo>
                    <a:pt x="509" y="128"/>
                  </a:lnTo>
                  <a:lnTo>
                    <a:pt x="550" y="123"/>
                  </a:lnTo>
                  <a:lnTo>
                    <a:pt x="590" y="118"/>
                  </a:lnTo>
                  <a:lnTo>
                    <a:pt x="630" y="110"/>
                  </a:lnTo>
                  <a:lnTo>
                    <a:pt x="668" y="100"/>
                  </a:lnTo>
                  <a:lnTo>
                    <a:pt x="704" y="88"/>
                  </a:lnTo>
                  <a:lnTo>
                    <a:pt x="738" y="74"/>
                  </a:lnTo>
                  <a:lnTo>
                    <a:pt x="738" y="74"/>
                  </a:lnTo>
                  <a:lnTo>
                    <a:pt x="755" y="66"/>
                  </a:lnTo>
                  <a:lnTo>
                    <a:pt x="772" y="59"/>
                  </a:lnTo>
                  <a:lnTo>
                    <a:pt x="788" y="50"/>
                  </a:lnTo>
                  <a:lnTo>
                    <a:pt x="801" y="41"/>
                  </a:lnTo>
                  <a:lnTo>
                    <a:pt x="814" y="32"/>
                  </a:lnTo>
                  <a:lnTo>
                    <a:pt x="827" y="22"/>
                  </a:lnTo>
                  <a:lnTo>
                    <a:pt x="838" y="12"/>
                  </a:lnTo>
                  <a:lnTo>
                    <a:pt x="848" y="0"/>
                  </a:lnTo>
                  <a:lnTo>
                    <a:pt x="8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1895" tIns="35948" rIns="71895" bIns="35948" numCol="1" anchor="t" anchorCtr="0" compatLnSpc="1">
              <a:prstTxWarp prst="textNoShape">
                <a:avLst/>
              </a:prstTxWarp>
            </a:bodyPr>
            <a:lstStyle/>
            <a:p>
              <a:endParaRPr lang="en-US" sz="1416"/>
            </a:p>
          </p:txBody>
        </p:sp>
        <p:sp>
          <p:nvSpPr>
            <p:cNvPr id="372" name="Freeform 19">
              <a:extLst>
                <a:ext uri="{FF2B5EF4-FFF2-40B4-BE49-F238E27FC236}">
                  <a16:creationId xmlns:a16="http://schemas.microsoft.com/office/drawing/2014/main" xmlns="" id="{2A37FFC7-3B53-4FEF-AF92-B7990BB1FC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3438" y="2157413"/>
              <a:ext cx="336550" cy="193675"/>
            </a:xfrm>
            <a:custGeom>
              <a:avLst/>
              <a:gdLst/>
              <a:ahLst/>
              <a:cxnLst>
                <a:cxn ang="0">
                  <a:pos x="848" y="302"/>
                </a:cxn>
                <a:cxn ang="0">
                  <a:pos x="843" y="330"/>
                </a:cxn>
                <a:cxn ang="0">
                  <a:pos x="829" y="357"/>
                </a:cxn>
                <a:cxn ang="0">
                  <a:pos x="807" y="381"/>
                </a:cxn>
                <a:cxn ang="0">
                  <a:pos x="775" y="405"/>
                </a:cxn>
                <a:cxn ang="0">
                  <a:pos x="694" y="444"/>
                </a:cxn>
                <a:cxn ang="0">
                  <a:pos x="589" y="471"/>
                </a:cxn>
                <a:cxn ang="0">
                  <a:pos x="467" y="484"/>
                </a:cxn>
                <a:cxn ang="0">
                  <a:pos x="380" y="484"/>
                </a:cxn>
                <a:cxn ang="0">
                  <a:pos x="258" y="471"/>
                </a:cxn>
                <a:cxn ang="0">
                  <a:pos x="154" y="444"/>
                </a:cxn>
                <a:cxn ang="0">
                  <a:pos x="72" y="405"/>
                </a:cxn>
                <a:cxn ang="0">
                  <a:pos x="41" y="381"/>
                </a:cxn>
                <a:cxn ang="0">
                  <a:pos x="19" y="357"/>
                </a:cxn>
                <a:cxn ang="0">
                  <a:pos x="4" y="330"/>
                </a:cxn>
                <a:cxn ang="0">
                  <a:pos x="0" y="302"/>
                </a:cxn>
                <a:cxn ang="0">
                  <a:pos x="0" y="184"/>
                </a:cxn>
                <a:cxn ang="0">
                  <a:pos x="4" y="156"/>
                </a:cxn>
                <a:cxn ang="0">
                  <a:pos x="19" y="129"/>
                </a:cxn>
                <a:cxn ang="0">
                  <a:pos x="41" y="104"/>
                </a:cxn>
                <a:cxn ang="0">
                  <a:pos x="72" y="82"/>
                </a:cxn>
                <a:cxn ang="0">
                  <a:pos x="154" y="43"/>
                </a:cxn>
                <a:cxn ang="0">
                  <a:pos x="258" y="15"/>
                </a:cxn>
                <a:cxn ang="0">
                  <a:pos x="380" y="1"/>
                </a:cxn>
                <a:cxn ang="0">
                  <a:pos x="467" y="1"/>
                </a:cxn>
                <a:cxn ang="0">
                  <a:pos x="589" y="15"/>
                </a:cxn>
                <a:cxn ang="0">
                  <a:pos x="694" y="43"/>
                </a:cxn>
                <a:cxn ang="0">
                  <a:pos x="775" y="82"/>
                </a:cxn>
                <a:cxn ang="0">
                  <a:pos x="807" y="104"/>
                </a:cxn>
                <a:cxn ang="0">
                  <a:pos x="829" y="129"/>
                </a:cxn>
                <a:cxn ang="0">
                  <a:pos x="843" y="156"/>
                </a:cxn>
                <a:cxn ang="0">
                  <a:pos x="848" y="184"/>
                </a:cxn>
                <a:cxn ang="0">
                  <a:pos x="424" y="41"/>
                </a:cxn>
                <a:cxn ang="0">
                  <a:pos x="350" y="43"/>
                </a:cxn>
                <a:cxn ang="0">
                  <a:pos x="251" y="56"/>
                </a:cxn>
                <a:cxn ang="0">
                  <a:pos x="167" y="77"/>
                </a:cxn>
                <a:cxn ang="0">
                  <a:pos x="104" y="108"/>
                </a:cxn>
                <a:cxn ang="0">
                  <a:pos x="72" y="137"/>
                </a:cxn>
                <a:cxn ang="0">
                  <a:pos x="62" y="156"/>
                </a:cxn>
                <a:cxn ang="0">
                  <a:pos x="61" y="168"/>
                </a:cxn>
                <a:cxn ang="0">
                  <a:pos x="64" y="188"/>
                </a:cxn>
                <a:cxn ang="0">
                  <a:pos x="77" y="206"/>
                </a:cxn>
                <a:cxn ang="0">
                  <a:pos x="122" y="239"/>
                </a:cxn>
                <a:cxn ang="0">
                  <a:pos x="193" y="267"/>
                </a:cxn>
                <a:cxn ang="0">
                  <a:pos x="282" y="286"/>
                </a:cxn>
                <a:cxn ang="0">
                  <a:pos x="387" y="295"/>
                </a:cxn>
                <a:cxn ang="0">
                  <a:pos x="461" y="295"/>
                </a:cxn>
                <a:cxn ang="0">
                  <a:pos x="565" y="286"/>
                </a:cxn>
                <a:cxn ang="0">
                  <a:pos x="655" y="267"/>
                </a:cxn>
                <a:cxn ang="0">
                  <a:pos x="725" y="239"/>
                </a:cxn>
                <a:cxn ang="0">
                  <a:pos x="771" y="206"/>
                </a:cxn>
                <a:cxn ang="0">
                  <a:pos x="783" y="188"/>
                </a:cxn>
                <a:cxn ang="0">
                  <a:pos x="788" y="168"/>
                </a:cxn>
                <a:cxn ang="0">
                  <a:pos x="785" y="156"/>
                </a:cxn>
                <a:cxn ang="0">
                  <a:pos x="775" y="137"/>
                </a:cxn>
                <a:cxn ang="0">
                  <a:pos x="743" y="108"/>
                </a:cxn>
                <a:cxn ang="0">
                  <a:pos x="680" y="77"/>
                </a:cxn>
                <a:cxn ang="0">
                  <a:pos x="597" y="56"/>
                </a:cxn>
                <a:cxn ang="0">
                  <a:pos x="497" y="43"/>
                </a:cxn>
                <a:cxn ang="0">
                  <a:pos x="424" y="41"/>
                </a:cxn>
              </a:cxnLst>
              <a:rect l="0" t="0" r="r" b="b"/>
              <a:pathLst>
                <a:path w="848" h="485">
                  <a:moveTo>
                    <a:pt x="848" y="184"/>
                  </a:moveTo>
                  <a:lnTo>
                    <a:pt x="848" y="302"/>
                  </a:lnTo>
                  <a:lnTo>
                    <a:pt x="848" y="302"/>
                  </a:lnTo>
                  <a:lnTo>
                    <a:pt x="848" y="312"/>
                  </a:lnTo>
                  <a:lnTo>
                    <a:pt x="846" y="321"/>
                  </a:lnTo>
                  <a:lnTo>
                    <a:pt x="843" y="330"/>
                  </a:lnTo>
                  <a:lnTo>
                    <a:pt x="840" y="339"/>
                  </a:lnTo>
                  <a:lnTo>
                    <a:pt x="834" y="348"/>
                  </a:lnTo>
                  <a:lnTo>
                    <a:pt x="829" y="357"/>
                  </a:lnTo>
                  <a:lnTo>
                    <a:pt x="822" y="366"/>
                  </a:lnTo>
                  <a:lnTo>
                    <a:pt x="815" y="374"/>
                  </a:lnTo>
                  <a:lnTo>
                    <a:pt x="807" y="381"/>
                  </a:lnTo>
                  <a:lnTo>
                    <a:pt x="796" y="389"/>
                  </a:lnTo>
                  <a:lnTo>
                    <a:pt x="786" y="397"/>
                  </a:lnTo>
                  <a:lnTo>
                    <a:pt x="775" y="405"/>
                  </a:lnTo>
                  <a:lnTo>
                    <a:pt x="752" y="419"/>
                  </a:lnTo>
                  <a:lnTo>
                    <a:pt x="724" y="432"/>
                  </a:lnTo>
                  <a:lnTo>
                    <a:pt x="694" y="444"/>
                  </a:lnTo>
                  <a:lnTo>
                    <a:pt x="661" y="454"/>
                  </a:lnTo>
                  <a:lnTo>
                    <a:pt x="626" y="463"/>
                  </a:lnTo>
                  <a:lnTo>
                    <a:pt x="589" y="471"/>
                  </a:lnTo>
                  <a:lnTo>
                    <a:pt x="550" y="478"/>
                  </a:lnTo>
                  <a:lnTo>
                    <a:pt x="510" y="482"/>
                  </a:lnTo>
                  <a:lnTo>
                    <a:pt x="467" y="484"/>
                  </a:lnTo>
                  <a:lnTo>
                    <a:pt x="424" y="485"/>
                  </a:lnTo>
                  <a:lnTo>
                    <a:pt x="424" y="485"/>
                  </a:lnTo>
                  <a:lnTo>
                    <a:pt x="380" y="484"/>
                  </a:lnTo>
                  <a:lnTo>
                    <a:pt x="338" y="482"/>
                  </a:lnTo>
                  <a:lnTo>
                    <a:pt x="298" y="478"/>
                  </a:lnTo>
                  <a:lnTo>
                    <a:pt x="258" y="471"/>
                  </a:lnTo>
                  <a:lnTo>
                    <a:pt x="222" y="463"/>
                  </a:lnTo>
                  <a:lnTo>
                    <a:pt x="186" y="454"/>
                  </a:lnTo>
                  <a:lnTo>
                    <a:pt x="154" y="444"/>
                  </a:lnTo>
                  <a:lnTo>
                    <a:pt x="123" y="432"/>
                  </a:lnTo>
                  <a:lnTo>
                    <a:pt x="97" y="419"/>
                  </a:lnTo>
                  <a:lnTo>
                    <a:pt x="72" y="405"/>
                  </a:lnTo>
                  <a:lnTo>
                    <a:pt x="61" y="397"/>
                  </a:lnTo>
                  <a:lnTo>
                    <a:pt x="51" y="389"/>
                  </a:lnTo>
                  <a:lnTo>
                    <a:pt x="41" y="381"/>
                  </a:lnTo>
                  <a:lnTo>
                    <a:pt x="33" y="374"/>
                  </a:lnTo>
                  <a:lnTo>
                    <a:pt x="25" y="366"/>
                  </a:lnTo>
                  <a:lnTo>
                    <a:pt x="19" y="357"/>
                  </a:lnTo>
                  <a:lnTo>
                    <a:pt x="13" y="348"/>
                  </a:lnTo>
                  <a:lnTo>
                    <a:pt x="8" y="339"/>
                  </a:lnTo>
                  <a:lnTo>
                    <a:pt x="4" y="330"/>
                  </a:lnTo>
                  <a:lnTo>
                    <a:pt x="2" y="321"/>
                  </a:lnTo>
                  <a:lnTo>
                    <a:pt x="0" y="312"/>
                  </a:lnTo>
                  <a:lnTo>
                    <a:pt x="0" y="302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0" y="175"/>
                  </a:lnTo>
                  <a:lnTo>
                    <a:pt x="2" y="165"/>
                  </a:lnTo>
                  <a:lnTo>
                    <a:pt x="4" y="156"/>
                  </a:lnTo>
                  <a:lnTo>
                    <a:pt x="8" y="147"/>
                  </a:lnTo>
                  <a:lnTo>
                    <a:pt x="13" y="138"/>
                  </a:lnTo>
                  <a:lnTo>
                    <a:pt x="19" y="129"/>
                  </a:lnTo>
                  <a:lnTo>
                    <a:pt x="25" y="121"/>
                  </a:lnTo>
                  <a:lnTo>
                    <a:pt x="33" y="112"/>
                  </a:lnTo>
                  <a:lnTo>
                    <a:pt x="41" y="104"/>
                  </a:lnTo>
                  <a:lnTo>
                    <a:pt x="51" y="96"/>
                  </a:lnTo>
                  <a:lnTo>
                    <a:pt x="61" y="89"/>
                  </a:lnTo>
                  <a:lnTo>
                    <a:pt x="72" y="82"/>
                  </a:lnTo>
                  <a:lnTo>
                    <a:pt x="97" y="67"/>
                  </a:lnTo>
                  <a:lnTo>
                    <a:pt x="123" y="54"/>
                  </a:lnTo>
                  <a:lnTo>
                    <a:pt x="154" y="43"/>
                  </a:lnTo>
                  <a:lnTo>
                    <a:pt x="186" y="32"/>
                  </a:lnTo>
                  <a:lnTo>
                    <a:pt x="222" y="23"/>
                  </a:lnTo>
                  <a:lnTo>
                    <a:pt x="258" y="15"/>
                  </a:lnTo>
                  <a:lnTo>
                    <a:pt x="298" y="9"/>
                  </a:lnTo>
                  <a:lnTo>
                    <a:pt x="338" y="5"/>
                  </a:lnTo>
                  <a:lnTo>
                    <a:pt x="380" y="1"/>
                  </a:lnTo>
                  <a:lnTo>
                    <a:pt x="424" y="0"/>
                  </a:lnTo>
                  <a:lnTo>
                    <a:pt x="424" y="0"/>
                  </a:lnTo>
                  <a:lnTo>
                    <a:pt x="467" y="1"/>
                  </a:lnTo>
                  <a:lnTo>
                    <a:pt x="510" y="5"/>
                  </a:lnTo>
                  <a:lnTo>
                    <a:pt x="550" y="9"/>
                  </a:lnTo>
                  <a:lnTo>
                    <a:pt x="589" y="15"/>
                  </a:lnTo>
                  <a:lnTo>
                    <a:pt x="626" y="23"/>
                  </a:lnTo>
                  <a:lnTo>
                    <a:pt x="661" y="32"/>
                  </a:lnTo>
                  <a:lnTo>
                    <a:pt x="694" y="43"/>
                  </a:lnTo>
                  <a:lnTo>
                    <a:pt x="724" y="54"/>
                  </a:lnTo>
                  <a:lnTo>
                    <a:pt x="752" y="67"/>
                  </a:lnTo>
                  <a:lnTo>
                    <a:pt x="775" y="82"/>
                  </a:lnTo>
                  <a:lnTo>
                    <a:pt x="786" y="89"/>
                  </a:lnTo>
                  <a:lnTo>
                    <a:pt x="798" y="96"/>
                  </a:lnTo>
                  <a:lnTo>
                    <a:pt x="807" y="104"/>
                  </a:lnTo>
                  <a:lnTo>
                    <a:pt x="815" y="112"/>
                  </a:lnTo>
                  <a:lnTo>
                    <a:pt x="822" y="121"/>
                  </a:lnTo>
                  <a:lnTo>
                    <a:pt x="829" y="129"/>
                  </a:lnTo>
                  <a:lnTo>
                    <a:pt x="834" y="138"/>
                  </a:lnTo>
                  <a:lnTo>
                    <a:pt x="840" y="147"/>
                  </a:lnTo>
                  <a:lnTo>
                    <a:pt x="843" y="156"/>
                  </a:lnTo>
                  <a:lnTo>
                    <a:pt x="846" y="165"/>
                  </a:lnTo>
                  <a:lnTo>
                    <a:pt x="848" y="175"/>
                  </a:lnTo>
                  <a:lnTo>
                    <a:pt x="848" y="184"/>
                  </a:lnTo>
                  <a:lnTo>
                    <a:pt x="848" y="184"/>
                  </a:lnTo>
                  <a:lnTo>
                    <a:pt x="848" y="184"/>
                  </a:lnTo>
                  <a:close/>
                  <a:moveTo>
                    <a:pt x="424" y="41"/>
                  </a:moveTo>
                  <a:lnTo>
                    <a:pt x="424" y="41"/>
                  </a:lnTo>
                  <a:lnTo>
                    <a:pt x="387" y="42"/>
                  </a:lnTo>
                  <a:lnTo>
                    <a:pt x="350" y="43"/>
                  </a:lnTo>
                  <a:lnTo>
                    <a:pt x="315" y="46"/>
                  </a:lnTo>
                  <a:lnTo>
                    <a:pt x="282" y="51"/>
                  </a:lnTo>
                  <a:lnTo>
                    <a:pt x="251" y="56"/>
                  </a:lnTo>
                  <a:lnTo>
                    <a:pt x="221" y="62"/>
                  </a:lnTo>
                  <a:lnTo>
                    <a:pt x="193" y="70"/>
                  </a:lnTo>
                  <a:lnTo>
                    <a:pt x="167" y="77"/>
                  </a:lnTo>
                  <a:lnTo>
                    <a:pt x="144" y="87"/>
                  </a:lnTo>
                  <a:lnTo>
                    <a:pt x="122" y="96"/>
                  </a:lnTo>
                  <a:lnTo>
                    <a:pt x="104" y="108"/>
                  </a:lnTo>
                  <a:lnTo>
                    <a:pt x="89" y="119"/>
                  </a:lnTo>
                  <a:lnTo>
                    <a:pt x="77" y="130"/>
                  </a:lnTo>
                  <a:lnTo>
                    <a:pt x="72" y="137"/>
                  </a:lnTo>
                  <a:lnTo>
                    <a:pt x="68" y="142"/>
                  </a:lnTo>
                  <a:lnTo>
                    <a:pt x="64" y="149"/>
                  </a:lnTo>
                  <a:lnTo>
                    <a:pt x="62" y="156"/>
                  </a:lnTo>
                  <a:lnTo>
                    <a:pt x="61" y="161"/>
                  </a:lnTo>
                  <a:lnTo>
                    <a:pt x="61" y="168"/>
                  </a:lnTo>
                  <a:lnTo>
                    <a:pt x="61" y="168"/>
                  </a:lnTo>
                  <a:lnTo>
                    <a:pt x="61" y="175"/>
                  </a:lnTo>
                  <a:lnTo>
                    <a:pt x="62" y="181"/>
                  </a:lnTo>
                  <a:lnTo>
                    <a:pt x="64" y="188"/>
                  </a:lnTo>
                  <a:lnTo>
                    <a:pt x="68" y="194"/>
                  </a:lnTo>
                  <a:lnTo>
                    <a:pt x="72" y="200"/>
                  </a:lnTo>
                  <a:lnTo>
                    <a:pt x="77" y="206"/>
                  </a:lnTo>
                  <a:lnTo>
                    <a:pt x="89" y="218"/>
                  </a:lnTo>
                  <a:lnTo>
                    <a:pt x="104" y="229"/>
                  </a:lnTo>
                  <a:lnTo>
                    <a:pt x="122" y="239"/>
                  </a:lnTo>
                  <a:lnTo>
                    <a:pt x="144" y="250"/>
                  </a:lnTo>
                  <a:lnTo>
                    <a:pt x="167" y="258"/>
                  </a:lnTo>
                  <a:lnTo>
                    <a:pt x="193" y="267"/>
                  </a:lnTo>
                  <a:lnTo>
                    <a:pt x="221" y="274"/>
                  </a:lnTo>
                  <a:lnTo>
                    <a:pt x="251" y="281"/>
                  </a:lnTo>
                  <a:lnTo>
                    <a:pt x="282" y="286"/>
                  </a:lnTo>
                  <a:lnTo>
                    <a:pt x="315" y="291"/>
                  </a:lnTo>
                  <a:lnTo>
                    <a:pt x="350" y="293"/>
                  </a:lnTo>
                  <a:lnTo>
                    <a:pt x="387" y="295"/>
                  </a:lnTo>
                  <a:lnTo>
                    <a:pt x="424" y="296"/>
                  </a:lnTo>
                  <a:lnTo>
                    <a:pt x="424" y="296"/>
                  </a:lnTo>
                  <a:lnTo>
                    <a:pt x="461" y="295"/>
                  </a:lnTo>
                  <a:lnTo>
                    <a:pt x="497" y="293"/>
                  </a:lnTo>
                  <a:lnTo>
                    <a:pt x="532" y="291"/>
                  </a:lnTo>
                  <a:lnTo>
                    <a:pt x="565" y="286"/>
                  </a:lnTo>
                  <a:lnTo>
                    <a:pt x="597" y="281"/>
                  </a:lnTo>
                  <a:lnTo>
                    <a:pt x="627" y="274"/>
                  </a:lnTo>
                  <a:lnTo>
                    <a:pt x="655" y="267"/>
                  </a:lnTo>
                  <a:lnTo>
                    <a:pt x="680" y="258"/>
                  </a:lnTo>
                  <a:lnTo>
                    <a:pt x="704" y="250"/>
                  </a:lnTo>
                  <a:lnTo>
                    <a:pt x="725" y="239"/>
                  </a:lnTo>
                  <a:lnTo>
                    <a:pt x="743" y="229"/>
                  </a:lnTo>
                  <a:lnTo>
                    <a:pt x="759" y="218"/>
                  </a:lnTo>
                  <a:lnTo>
                    <a:pt x="771" y="206"/>
                  </a:lnTo>
                  <a:lnTo>
                    <a:pt x="775" y="200"/>
                  </a:lnTo>
                  <a:lnTo>
                    <a:pt x="780" y="194"/>
                  </a:lnTo>
                  <a:lnTo>
                    <a:pt x="783" y="188"/>
                  </a:lnTo>
                  <a:lnTo>
                    <a:pt x="785" y="181"/>
                  </a:lnTo>
                  <a:lnTo>
                    <a:pt x="786" y="175"/>
                  </a:lnTo>
                  <a:lnTo>
                    <a:pt x="788" y="168"/>
                  </a:lnTo>
                  <a:lnTo>
                    <a:pt x="788" y="168"/>
                  </a:lnTo>
                  <a:lnTo>
                    <a:pt x="786" y="161"/>
                  </a:lnTo>
                  <a:lnTo>
                    <a:pt x="785" y="156"/>
                  </a:lnTo>
                  <a:lnTo>
                    <a:pt x="783" y="149"/>
                  </a:lnTo>
                  <a:lnTo>
                    <a:pt x="780" y="142"/>
                  </a:lnTo>
                  <a:lnTo>
                    <a:pt x="775" y="137"/>
                  </a:lnTo>
                  <a:lnTo>
                    <a:pt x="771" y="130"/>
                  </a:lnTo>
                  <a:lnTo>
                    <a:pt x="759" y="119"/>
                  </a:lnTo>
                  <a:lnTo>
                    <a:pt x="743" y="108"/>
                  </a:lnTo>
                  <a:lnTo>
                    <a:pt x="725" y="96"/>
                  </a:lnTo>
                  <a:lnTo>
                    <a:pt x="704" y="87"/>
                  </a:lnTo>
                  <a:lnTo>
                    <a:pt x="680" y="77"/>
                  </a:lnTo>
                  <a:lnTo>
                    <a:pt x="655" y="70"/>
                  </a:lnTo>
                  <a:lnTo>
                    <a:pt x="627" y="62"/>
                  </a:lnTo>
                  <a:lnTo>
                    <a:pt x="597" y="56"/>
                  </a:lnTo>
                  <a:lnTo>
                    <a:pt x="565" y="51"/>
                  </a:lnTo>
                  <a:lnTo>
                    <a:pt x="532" y="46"/>
                  </a:lnTo>
                  <a:lnTo>
                    <a:pt x="497" y="43"/>
                  </a:lnTo>
                  <a:lnTo>
                    <a:pt x="461" y="42"/>
                  </a:lnTo>
                  <a:lnTo>
                    <a:pt x="424" y="41"/>
                  </a:lnTo>
                  <a:lnTo>
                    <a:pt x="424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1895" tIns="35948" rIns="71895" bIns="35948" numCol="1" anchor="t" anchorCtr="0" compatLnSpc="1">
              <a:prstTxWarp prst="textNoShape">
                <a:avLst/>
              </a:prstTxWarp>
            </a:bodyPr>
            <a:lstStyle/>
            <a:p>
              <a:endParaRPr lang="en-US" sz="1416"/>
            </a:p>
          </p:txBody>
        </p:sp>
      </p:grpSp>
      <p:sp>
        <p:nvSpPr>
          <p:cNvPr id="162" name="Прямоугольник 161"/>
          <p:cNvSpPr/>
          <p:nvPr/>
        </p:nvSpPr>
        <p:spPr>
          <a:xfrm>
            <a:off x="2294757" y="558737"/>
            <a:ext cx="7125123" cy="56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33" spc="-34" dirty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руктура затрат общеобразовательных организаций в 2019 г. и прогноз на 2020 – 2023 гг. </a:t>
            </a:r>
          </a:p>
        </p:txBody>
      </p:sp>
      <p:sp>
        <p:nvSpPr>
          <p:cNvPr id="163" name="Номер слайда 2">
            <a:extLst>
              <a:ext uri="{FF2B5EF4-FFF2-40B4-BE49-F238E27FC236}">
                <a16:creationId xmlns:a16="http://schemas.microsoft.com/office/drawing/2014/main" xmlns="" id="{CEA2AB8A-FD48-48B5-B616-721FD8C54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53484" y="7298518"/>
            <a:ext cx="2336594" cy="311005"/>
          </a:xfrm>
        </p:spPr>
        <p:txBody>
          <a:bodyPr/>
          <a:lstStyle/>
          <a:p>
            <a:fld id="{8AD70286-9A37-49D5-84CC-170BFF34E83D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112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8C819BE-363A-BF4D-80C8-5B1A3BBE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0495" y="641696"/>
            <a:ext cx="4602532" cy="222680"/>
          </a:xfrm>
        </p:spPr>
        <p:txBody>
          <a:bodyPr vert="horz" wrap="square" lIns="0" tIns="10277" rIns="0" bIns="0" rtlCol="0" anchor="ctr">
            <a:spAutoFit/>
          </a:bodyPr>
          <a:lstStyle/>
          <a:p>
            <a:pPr>
              <a:spcBef>
                <a:spcPts val="0"/>
              </a:spcBef>
            </a:pPr>
            <a:r>
              <a:rPr lang="ru-RU" sz="1533" spc="-34" dirty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тель – профессия будущего!</a:t>
            </a:r>
          </a:p>
        </p:txBody>
      </p:sp>
      <p:sp>
        <p:nvSpPr>
          <p:cNvPr id="65" name="Номер слайда 2">
            <a:extLst>
              <a:ext uri="{FF2B5EF4-FFF2-40B4-BE49-F238E27FC236}">
                <a16:creationId xmlns:a16="http://schemas.microsoft.com/office/drawing/2014/main" xmlns="" id="{A18845D8-653E-4983-96C1-014453CCE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53481" y="7288582"/>
            <a:ext cx="2336594" cy="311005"/>
          </a:xfrm>
        </p:spPr>
        <p:txBody>
          <a:bodyPr/>
          <a:lstStyle/>
          <a:p>
            <a:fld id="{8AD70286-9A37-49D5-84CC-170BFF34E83D}" type="slidenum">
              <a:rPr lang="ru-RU" smtClean="0"/>
              <a:t>5</a:t>
            </a:fld>
            <a:endParaRPr lang="ru-RU" dirty="0"/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051" y="1578176"/>
            <a:ext cx="2417650" cy="1443716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4"/>
          <a:srcRect t="2960" r="6946"/>
          <a:stretch/>
        </p:blipFill>
        <p:spPr>
          <a:xfrm>
            <a:off x="4749819" y="2326759"/>
            <a:ext cx="422103" cy="485043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5"/>
          <a:srcRect l="16136" t="12786" r="12297" b="6014"/>
          <a:stretch/>
        </p:blipFill>
        <p:spPr>
          <a:xfrm>
            <a:off x="5716651" y="1786813"/>
            <a:ext cx="401379" cy="477831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7873" y="2323156"/>
            <a:ext cx="413964" cy="502869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3138697" y="1718796"/>
            <a:ext cx="1549999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171450" indent="-171450">
              <a:buFont typeface="Wingdings" panose="05000000000000000000" pitchFamily="2" charset="2"/>
              <a:buChar char="§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 algn="ctr">
              <a:lnSpc>
                <a:spcPts val="1193"/>
              </a:lnSpc>
              <a:buNone/>
            </a:pPr>
            <a:r>
              <a:rPr lang="ru-RU" sz="1022" b="1" dirty="0">
                <a:solidFill>
                  <a:srgbClr val="364D6E"/>
                </a:solidFill>
              </a:rPr>
              <a:t>Координатор образовательной </a:t>
            </a:r>
            <a:br>
              <a:rPr lang="ru-RU" sz="1022" b="1" dirty="0">
                <a:solidFill>
                  <a:srgbClr val="364D6E"/>
                </a:solidFill>
              </a:rPr>
            </a:br>
            <a:r>
              <a:rPr lang="ru-RU" sz="1022" b="1" dirty="0">
                <a:solidFill>
                  <a:srgbClr val="364D6E"/>
                </a:solidFill>
              </a:rPr>
              <a:t>онлайн – платформы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632984" y="1719220"/>
            <a:ext cx="1346427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171450" indent="-171450">
              <a:buFont typeface="Wingdings" panose="05000000000000000000" pitchFamily="2" charset="2"/>
              <a:buChar char="§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 algn="ctr">
              <a:lnSpc>
                <a:spcPts val="1193"/>
              </a:lnSpc>
              <a:buNone/>
            </a:pPr>
            <a:r>
              <a:rPr lang="ru-RU" sz="1022" b="1" dirty="0">
                <a:solidFill>
                  <a:srgbClr val="364D6E"/>
                </a:solidFill>
              </a:rPr>
              <a:t>Разработчик </a:t>
            </a:r>
          </a:p>
          <a:p>
            <a:pPr marL="0" indent="0" algn="ctr">
              <a:lnSpc>
                <a:spcPts val="1193"/>
              </a:lnSpc>
              <a:buNone/>
            </a:pPr>
            <a:r>
              <a:rPr lang="ru-RU" sz="1022" b="1" dirty="0">
                <a:solidFill>
                  <a:srgbClr val="364D6E"/>
                </a:solidFill>
              </a:rPr>
              <a:t>образовательных траекторий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374709" y="2469231"/>
            <a:ext cx="1064369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171450" indent="-171450">
              <a:buFont typeface="Wingdings" panose="05000000000000000000" pitchFamily="2" charset="2"/>
              <a:buChar char="§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 algn="ctr">
              <a:lnSpc>
                <a:spcPts val="1193"/>
              </a:lnSpc>
              <a:buNone/>
            </a:pPr>
            <a:r>
              <a:rPr lang="ru-RU" sz="1022" b="1" dirty="0">
                <a:solidFill>
                  <a:srgbClr val="364D6E"/>
                </a:solidFill>
              </a:rPr>
              <a:t>Организатор проектного обучения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767129" y="2756718"/>
            <a:ext cx="932226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171450" indent="-171450">
              <a:buFont typeface="Wingdings" panose="05000000000000000000" pitchFamily="2" charset="2"/>
              <a:buChar char="§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>
              <a:lnSpc>
                <a:spcPts val="1193"/>
              </a:lnSpc>
              <a:buNone/>
            </a:pPr>
            <a:r>
              <a:rPr lang="ru-RU" sz="1022" b="1" dirty="0">
                <a:solidFill>
                  <a:srgbClr val="364D6E"/>
                </a:solidFill>
              </a:rPr>
              <a:t>Игропедагог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709" b="90291" l="6383" r="89362">
                        <a14:foregroundMark x1="9574" y1="30097" x2="7447" y2="71845"/>
                        <a14:foregroundMark x1="6383" y1="33010" x2="42553" y2="14563"/>
                        <a14:foregroundMark x1="7447" y1="28155" x2="10638" y2="27184"/>
                        <a14:foregroundMark x1="23404" y1="79612" x2="45745" y2="40777"/>
                        <a14:foregroundMark x1="30851" y1="69903" x2="46809" y2="68932"/>
                        <a14:foregroundMark x1="41489" y1="62136" x2="54255" y2="69903"/>
                        <a14:foregroundMark x1="57447" y1="66019" x2="63830" y2="73786"/>
                        <a14:foregroundMark x1="46809" y1="87379" x2="50000" y2="90291"/>
                        <a14:backgroundMark x1="3191" y1="88350" x2="6383" y2="87379"/>
                      </a14:backgroundRemoval>
                    </a14:imgEffect>
                  </a14:imgLayer>
                </a14:imgProps>
              </a:ext>
            </a:extLst>
          </a:blip>
          <a:srcRect l="3986" t="7273" r="8894"/>
          <a:stretch/>
        </p:blipFill>
        <p:spPr>
          <a:xfrm>
            <a:off x="5023793" y="1772474"/>
            <a:ext cx="425270" cy="495974"/>
          </a:xfrm>
          <a:prstGeom prst="rect">
            <a:avLst/>
          </a:prstGeom>
        </p:spPr>
      </p:pic>
      <p:pic>
        <p:nvPicPr>
          <p:cNvPr id="45" name="Объект 4" descr="C:\Users\osuvorova\Desktop\олимп.PNG"/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698"/>
          <a:stretch/>
        </p:blipFill>
        <p:spPr bwMode="auto">
          <a:xfrm>
            <a:off x="8335716" y="1718795"/>
            <a:ext cx="1596328" cy="126997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6" name="Группа 45">
            <a:extLst>
              <a:ext uri="{FF2B5EF4-FFF2-40B4-BE49-F238E27FC236}">
                <a16:creationId xmlns:a16="http://schemas.microsoft.com/office/drawing/2014/main" xmlns="" id="{753A4D61-37B3-4457-BD50-4D00CE141F20}"/>
              </a:ext>
            </a:extLst>
          </p:cNvPr>
          <p:cNvGrpSpPr/>
          <p:nvPr/>
        </p:nvGrpSpPr>
        <p:grpSpPr>
          <a:xfrm>
            <a:off x="663509" y="3656264"/>
            <a:ext cx="9832252" cy="372369"/>
            <a:chOff x="229618" y="2935542"/>
            <a:chExt cx="11215134" cy="623735"/>
          </a:xfrm>
        </p:grpSpPr>
        <p:sp>
          <p:nvSpPr>
            <p:cNvPr id="47" name="Стрелка: пятиугольник 5">
              <a:extLst>
                <a:ext uri="{FF2B5EF4-FFF2-40B4-BE49-F238E27FC236}">
                  <a16:creationId xmlns:a16="http://schemas.microsoft.com/office/drawing/2014/main" xmlns="" id="{E9FCE01B-C783-439E-832C-7ADDEE27E112}"/>
                </a:ext>
              </a:extLst>
            </p:cNvPr>
            <p:cNvSpPr/>
            <p:nvPr/>
          </p:nvSpPr>
          <p:spPr>
            <a:xfrm>
              <a:off x="229618" y="2935542"/>
              <a:ext cx="3705363" cy="623735"/>
            </a:xfrm>
            <a:prstGeom prst="homePlate">
              <a:avLst>
                <a:gd name="adj" fmla="val 28766"/>
              </a:avLst>
            </a:prstGeom>
            <a:solidFill>
              <a:srgbClr val="364D6E"/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>
                <a:solidFill>
                  <a:srgbClr val="44546A">
                    <a:lumMod val="40000"/>
                    <a:lumOff val="60000"/>
                  </a:srgbClr>
                </a:solidFill>
                <a:latin typeface="Calibri"/>
              </a:endParaRPr>
            </a:p>
          </p:txBody>
        </p:sp>
        <p:sp>
          <p:nvSpPr>
            <p:cNvPr id="48" name="Стрелка: шеврон 37">
              <a:extLst>
                <a:ext uri="{FF2B5EF4-FFF2-40B4-BE49-F238E27FC236}">
                  <a16:creationId xmlns:a16="http://schemas.microsoft.com/office/drawing/2014/main" xmlns="" id="{70053EA8-746A-4AC9-B513-06BD25365214}"/>
                </a:ext>
              </a:extLst>
            </p:cNvPr>
            <p:cNvSpPr/>
            <p:nvPr/>
          </p:nvSpPr>
          <p:spPr>
            <a:xfrm>
              <a:off x="3934981" y="2935542"/>
              <a:ext cx="3779802" cy="623735"/>
            </a:xfrm>
            <a:prstGeom prst="chevron">
              <a:avLst>
                <a:gd name="adj" fmla="val 29231"/>
              </a:avLst>
            </a:prstGeom>
            <a:solidFill>
              <a:srgbClr val="6F8DB9"/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solidFill>
                  <a:srgbClr val="44546A">
                    <a:lumMod val="40000"/>
                    <a:lumOff val="60000"/>
                  </a:srgbClr>
                </a:solidFill>
                <a:latin typeface="Calibri"/>
              </a:endParaRPr>
            </a:p>
          </p:txBody>
        </p:sp>
        <p:sp>
          <p:nvSpPr>
            <p:cNvPr id="49" name="Стрелка: шеврон 39">
              <a:extLst>
                <a:ext uri="{FF2B5EF4-FFF2-40B4-BE49-F238E27FC236}">
                  <a16:creationId xmlns:a16="http://schemas.microsoft.com/office/drawing/2014/main" xmlns="" id="{5F629046-5F62-497E-9530-959E17E6BBE2}"/>
                </a:ext>
              </a:extLst>
            </p:cNvPr>
            <p:cNvSpPr/>
            <p:nvPr/>
          </p:nvSpPr>
          <p:spPr>
            <a:xfrm>
              <a:off x="7714783" y="2935542"/>
              <a:ext cx="3729969" cy="623735"/>
            </a:xfrm>
            <a:prstGeom prst="chevron">
              <a:avLst>
                <a:gd name="adj" fmla="val 29231"/>
              </a:avLst>
            </a:prstGeom>
            <a:solidFill>
              <a:srgbClr val="D2DEEF"/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77886" tIns="38943" rIns="77886" bIns="38943" numCol="1" anchor="t" anchorCtr="0" compatLnSpc="1">
              <a:prstTxWarp prst="textNoShape">
                <a:avLst/>
              </a:prstTxWarp>
            </a:bodyPr>
            <a:lstStyle/>
            <a:p>
              <a:endParaRPr lang="ru-RU" sz="1533" dirty="0">
                <a:latin typeface="Calibri"/>
              </a:endParaRPr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7444579" y="3718649"/>
            <a:ext cx="2707688" cy="2540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Aft>
                <a:spcPts val="900"/>
              </a:spcAft>
              <a:defRPr sz="12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>
              <a:lnSpc>
                <a:spcPct val="80000"/>
              </a:lnSpc>
              <a:spcAft>
                <a:spcPts val="0"/>
              </a:spcAft>
            </a:pPr>
            <a:r>
              <a:rPr lang="ru-RU" sz="1022" dirty="0">
                <a:solidFill>
                  <a:srgbClr val="364D6E"/>
                </a:solidFill>
              </a:rPr>
              <a:t>Навыки  </a:t>
            </a:r>
            <a:r>
              <a:rPr lang="en-US" sz="1022" dirty="0">
                <a:solidFill>
                  <a:srgbClr val="364D6E"/>
                </a:solidFill>
              </a:rPr>
              <a:t>XXI </a:t>
            </a:r>
            <a:r>
              <a:rPr lang="ru-RU" sz="1022" dirty="0">
                <a:solidFill>
                  <a:srgbClr val="364D6E"/>
                </a:solidFill>
              </a:rPr>
              <a:t>века для школьников – новые педагогические специализации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017393" y="3743302"/>
            <a:ext cx="3007785" cy="1572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Aft>
                <a:spcPts val="900"/>
              </a:spcAft>
              <a:defRPr sz="12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ru-RU" sz="1022" dirty="0"/>
              <a:t>Новые задачи образования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895266" y="3743303"/>
            <a:ext cx="2705831" cy="1572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Aft>
                <a:spcPts val="900"/>
              </a:spcAft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ru-RU" sz="1022" dirty="0">
                <a:solidFill>
                  <a:schemeClr val="bg1"/>
                </a:solidFill>
              </a:rPr>
              <a:t>Что меняется в образовании?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72499" y="4269633"/>
            <a:ext cx="3095813" cy="133523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Цифровые средства обучения и воспитания </a:t>
            </a: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- онлайн курсы, симуляторы, тренажёры, ЦУМК, виртуальные лаборатории и  пр.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ые технологии – индивидуализация образования </a:t>
            </a: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(формат и темп, уровень сложности и пр.)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ые педагогические технологии </a:t>
            </a: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– игровые, проектные и др.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7480848" y="5104697"/>
            <a:ext cx="2698802" cy="1578930"/>
            <a:chOff x="8041550" y="4916118"/>
            <a:chExt cx="2529291" cy="1740483"/>
          </a:xfrm>
        </p:grpSpPr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956621" y="5733836"/>
              <a:ext cx="614220" cy="922765"/>
            </a:xfrm>
            <a:prstGeom prst="rect">
              <a:avLst/>
            </a:prstGeom>
            <a:effectLst/>
          </p:spPr>
        </p:pic>
        <p:pic>
          <p:nvPicPr>
            <p:cNvPr id="57" name="Picture 3" descr="C:\Users\ESalyukova\Desktop\image.jp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1550" y="4916118"/>
              <a:ext cx="1347868" cy="817717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3" descr="C:\Users\ESalyukova\Desktop\V-__Fablab-Politeh__-sozdali-nabor-dostupnogo-tsifrovogo-proizvodstvennogo-oborudovaniya-___DFKit___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15522" y="4925004"/>
              <a:ext cx="955319" cy="636879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Google Shape;240;p16"/>
            <p:cNvPicPr preferRelativeResize="0"/>
            <p:nvPr/>
          </p:nvPicPr>
          <p:blipFill rotWithShape="1">
            <a:blip r:embed="rId13">
              <a:alphaModFix/>
            </a:blip>
            <a:srcRect t="12195"/>
            <a:stretch/>
          </p:blipFill>
          <p:spPr>
            <a:xfrm>
              <a:off x="8043118" y="5936501"/>
              <a:ext cx="1685829" cy="720100"/>
            </a:xfrm>
            <a:prstGeom prst="rect">
              <a:avLst/>
            </a:prstGeom>
            <a:noFill/>
            <a:ln>
              <a:noFill/>
            </a:ln>
            <a:effectLst/>
          </p:spPr>
        </p:pic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E4898F1-98D4-400A-A3BB-BF88C66CD425}"/>
              </a:ext>
            </a:extLst>
          </p:cNvPr>
          <p:cNvSpPr txBox="1"/>
          <p:nvPr/>
        </p:nvSpPr>
        <p:spPr>
          <a:xfrm>
            <a:off x="3819144" y="4270405"/>
            <a:ext cx="3248474" cy="270554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Создание образовательных траекторий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Сопровождение ученика </a:t>
            </a: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по образовательной траектории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Разработка и сопровождение образовательных онлайн-платформ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Организация </a:t>
            </a: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проектной работы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Разработка </a:t>
            </a:r>
            <a:r>
              <a:rPr lang="ru-RU" sz="1022" b="1" dirty="0" err="1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игропрактических</a:t>
            </a: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инструментов и методик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Разработка </a:t>
            </a: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виртуальных миров </a:t>
            </a: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для обучения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b="1" spc="-34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Развитие </a:t>
            </a:r>
            <a:r>
              <a:rPr lang="ru-RU" sz="1022" b="1" spc="-34" dirty="0" err="1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метакомпетенций</a:t>
            </a:r>
            <a:r>
              <a:rPr lang="ru-RU" sz="1022" b="1" spc="-34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022" spc="-34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(командная работа, системное мышление, бережливое производство и др.)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Развитие когнитивных способностей </a:t>
            </a: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(память, скорость чтения, концентрации и др.)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b="1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Обучение продуктивным состояниям сознания</a:t>
            </a:r>
          </a:p>
          <a:p>
            <a:pPr marL="243405" indent="-153326">
              <a:spcBef>
                <a:spcPts val="256"/>
              </a:spcBef>
              <a:buClr>
                <a:srgbClr val="364D6E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dirty="0">
                <a:solidFill>
                  <a:srgbClr val="364D6E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И т.д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937F0595-64C7-456D-B0A9-BF675A2E2960}"/>
              </a:ext>
            </a:extLst>
          </p:cNvPr>
          <p:cNvSpPr txBox="1"/>
          <p:nvPr/>
        </p:nvSpPr>
        <p:spPr>
          <a:xfrm>
            <a:off x="7387533" y="4236830"/>
            <a:ext cx="3119962" cy="564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56"/>
              </a:spcBef>
              <a:buClr>
                <a:srgbClr val="364D6E"/>
              </a:buClr>
              <a:buSzPct val="120000"/>
            </a:pPr>
            <a:r>
              <a:rPr lang="ru-RU" sz="1022" dirty="0">
                <a:solidFill>
                  <a:srgbClr val="364D6E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решения новых педагогических задач</a:t>
            </a:r>
            <a:r>
              <a:rPr lang="en-US" sz="1022" dirty="0">
                <a:solidFill>
                  <a:srgbClr val="364D6E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022" dirty="0">
                <a:solidFill>
                  <a:srgbClr val="364D6E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еобходим </a:t>
            </a:r>
            <a:r>
              <a:rPr lang="ru-RU" sz="1022" b="1" dirty="0">
                <a:solidFill>
                  <a:srgbClr val="364D6E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овый педагогический инструментарий и оборудование </a:t>
            </a:r>
          </a:p>
        </p:txBody>
      </p:sp>
    </p:spTree>
    <p:extLst>
      <p:ext uri="{BB962C8B-B14F-4D97-AF65-F5344CB8AC3E}">
        <p14:creationId xmlns:p14="http://schemas.microsoft.com/office/powerpoint/2010/main" val="812859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2777" y="968397"/>
          <a:ext cx="1353" cy="13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2777" y="968397"/>
                        <a:ext cx="1353" cy="13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Группа 20">
            <a:extLst>
              <a:ext uri="{FF2B5EF4-FFF2-40B4-BE49-F238E27FC236}">
                <a16:creationId xmlns:a16="http://schemas.microsoft.com/office/drawing/2014/main" xmlns="" id="{1A92774F-251A-4DBD-9433-5E766D3B6C63}"/>
              </a:ext>
            </a:extLst>
          </p:cNvPr>
          <p:cNvGrpSpPr/>
          <p:nvPr/>
        </p:nvGrpSpPr>
        <p:grpSpPr>
          <a:xfrm>
            <a:off x="671335" y="2062933"/>
            <a:ext cx="9828448" cy="999474"/>
            <a:chOff x="395170" y="2929543"/>
            <a:chExt cx="10593599" cy="629734"/>
          </a:xfrm>
          <a:solidFill>
            <a:schemeClr val="bg1">
              <a:lumMod val="95000"/>
            </a:schemeClr>
          </a:solidFill>
        </p:grpSpPr>
        <p:sp>
          <p:nvSpPr>
            <p:cNvPr id="22" name="Стрелка: пятиугольник 21">
              <a:extLst>
                <a:ext uri="{FF2B5EF4-FFF2-40B4-BE49-F238E27FC236}">
                  <a16:creationId xmlns:a16="http://schemas.microsoft.com/office/drawing/2014/main" xmlns="" id="{7D5E9AC1-BB0F-4743-B4EE-2C400358D658}"/>
                </a:ext>
              </a:extLst>
            </p:cNvPr>
            <p:cNvSpPr/>
            <p:nvPr/>
          </p:nvSpPr>
          <p:spPr>
            <a:xfrm>
              <a:off x="395170" y="2935542"/>
              <a:ext cx="2854255" cy="623735"/>
            </a:xfrm>
            <a:prstGeom prst="homePlate">
              <a:avLst>
                <a:gd name="adj" fmla="val 28766"/>
              </a:avLst>
            </a:prstGeom>
            <a:solidFill>
              <a:srgbClr val="EAEF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3" dirty="0"/>
            </a:p>
          </p:txBody>
        </p:sp>
        <p:sp>
          <p:nvSpPr>
            <p:cNvPr id="23" name="Стрелка: шеврон 22">
              <a:extLst>
                <a:ext uri="{FF2B5EF4-FFF2-40B4-BE49-F238E27FC236}">
                  <a16:creationId xmlns:a16="http://schemas.microsoft.com/office/drawing/2014/main" xmlns="" id="{0C5AE526-9773-4D37-ACB1-3CCF76D5C680}"/>
                </a:ext>
              </a:extLst>
            </p:cNvPr>
            <p:cNvSpPr/>
            <p:nvPr/>
          </p:nvSpPr>
          <p:spPr>
            <a:xfrm>
              <a:off x="3111460" y="2929543"/>
              <a:ext cx="4491713" cy="623735"/>
            </a:xfrm>
            <a:prstGeom prst="chevron">
              <a:avLst>
                <a:gd name="adj" fmla="val 29231"/>
              </a:avLst>
            </a:prstGeom>
            <a:solidFill>
              <a:srgbClr val="EAEF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3" dirty="0"/>
            </a:p>
          </p:txBody>
        </p:sp>
        <p:sp>
          <p:nvSpPr>
            <p:cNvPr id="24" name="Стрелка: шеврон 23">
              <a:extLst>
                <a:ext uri="{FF2B5EF4-FFF2-40B4-BE49-F238E27FC236}">
                  <a16:creationId xmlns:a16="http://schemas.microsoft.com/office/drawing/2014/main" xmlns="" id="{890A089F-ECDB-4A68-B46D-4D67344E33B4}"/>
                </a:ext>
              </a:extLst>
            </p:cNvPr>
            <p:cNvSpPr/>
            <p:nvPr/>
          </p:nvSpPr>
          <p:spPr>
            <a:xfrm>
              <a:off x="7458475" y="2932542"/>
              <a:ext cx="3530294" cy="623735"/>
            </a:xfrm>
            <a:prstGeom prst="chevron">
              <a:avLst>
                <a:gd name="adj" fmla="val 29231"/>
              </a:avLst>
            </a:prstGeom>
            <a:solidFill>
              <a:srgbClr val="EAEF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3"/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1446439" y="2671076"/>
            <a:ext cx="2027206" cy="1835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spcAft>
                <a:spcPts val="900"/>
              </a:spcAft>
              <a:defRPr sz="14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endParaRPr lang="ru-RU" sz="1193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977099" y="2762831"/>
            <a:ext cx="2155795" cy="1835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spcAft>
                <a:spcPts val="900"/>
              </a:spcAft>
              <a:defRPr sz="14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endParaRPr lang="ru-RU" sz="1193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6" name="Google Shape;239;p16"/>
          <p:cNvPicPr preferRelativeResize="0"/>
          <p:nvPr/>
        </p:nvPicPr>
        <p:blipFill rotWithShape="1">
          <a:blip r:embed="rId7">
            <a:alphaModFix/>
          </a:blip>
          <a:srcRect l="21429" r="21429" b="26589"/>
          <a:stretch/>
        </p:blipFill>
        <p:spPr>
          <a:xfrm>
            <a:off x="721627" y="4861309"/>
            <a:ext cx="1533198" cy="1533198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59" name="Google Shape;241;p16"/>
          <p:cNvPicPr preferRelativeResize="0"/>
          <p:nvPr/>
        </p:nvPicPr>
        <p:blipFill rotWithShape="1">
          <a:blip r:embed="rId8">
            <a:alphaModFix/>
          </a:blip>
          <a:srcRect l="33985" t="5550" r="10081" b="13895"/>
          <a:stretch/>
        </p:blipFill>
        <p:spPr>
          <a:xfrm>
            <a:off x="5660452" y="4861309"/>
            <a:ext cx="1533198" cy="1533198"/>
          </a:xfrm>
          <a:prstGeom prst="ellipse">
            <a:avLst/>
          </a:prstGeom>
          <a:noFill/>
          <a:ln>
            <a:noFill/>
          </a:ln>
        </p:spPr>
      </p:pic>
      <p:sp>
        <p:nvSpPr>
          <p:cNvPr id="60" name="TextBox 59"/>
          <p:cNvSpPr txBox="1"/>
          <p:nvPr/>
        </p:nvSpPr>
        <p:spPr>
          <a:xfrm>
            <a:off x="5660998" y="4501283"/>
            <a:ext cx="3381572" cy="1572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spcAft>
                <a:spcPts val="900"/>
              </a:spcAft>
              <a:defRPr sz="14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ru-RU" sz="1022" dirty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Проектная деятельность и Профильное обучение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69903" y="4501283"/>
            <a:ext cx="2704726" cy="1572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spcAft>
                <a:spcPts val="900"/>
              </a:spcAft>
              <a:defRPr sz="14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ru-RU" sz="1022" dirty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Индивидуальная образовательная траектория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7577850" y="4922709"/>
            <a:ext cx="2511016" cy="16079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022" dirty="0">
                <a:solidFill>
                  <a:srgbClr val="6F8DB9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Обеспечение всех профилей, предусмотренных ФГОС СОО</a:t>
            </a:r>
          </a:p>
          <a:p>
            <a:endParaRPr lang="ru-RU" sz="1022" dirty="0">
              <a:solidFill>
                <a:srgbClr val="6F8DB9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43405" indent="-243405">
              <a:spcBef>
                <a:spcPts val="256"/>
              </a:spcBef>
              <a:spcAft>
                <a:spcPts val="256"/>
              </a:spcAft>
              <a:buClr>
                <a:srgbClr val="6F8DB9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dirty="0">
                <a:solidFill>
                  <a:srgbClr val="6F8DB9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Учебники ФПУ для углублённого изучения профильных предметов</a:t>
            </a:r>
          </a:p>
          <a:p>
            <a:pPr marL="243405" indent="-243405">
              <a:spcBef>
                <a:spcPts val="256"/>
              </a:spcBef>
              <a:spcAft>
                <a:spcPts val="256"/>
              </a:spcAft>
              <a:buClr>
                <a:srgbClr val="6F8DB9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dirty="0">
                <a:solidFill>
                  <a:srgbClr val="6F8DB9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Учебные пособия для элективных курсов и внеурочной деятельности</a:t>
            </a:r>
          </a:p>
          <a:p>
            <a:pPr marL="243405" indent="-243405">
              <a:spcBef>
                <a:spcPts val="256"/>
              </a:spcBef>
              <a:spcAft>
                <a:spcPts val="256"/>
              </a:spcAft>
              <a:buClr>
                <a:srgbClr val="6F8DB9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022" dirty="0">
                <a:solidFill>
                  <a:srgbClr val="6F8DB9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Концепции высокотехнологичных лабораторий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460041" y="4922710"/>
            <a:ext cx="2517059" cy="14227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56"/>
              </a:spcBef>
              <a:spcAft>
                <a:spcPts val="256"/>
              </a:spcAft>
              <a:buClr>
                <a:srgbClr val="2D2B8D"/>
              </a:buClr>
              <a:buSzPct val="100000"/>
            </a:pPr>
            <a:r>
              <a:rPr lang="ru-RU" sz="1022" dirty="0">
                <a:solidFill>
                  <a:srgbClr val="6F8DB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деление на базовый и углублённый уровень </a:t>
            </a:r>
          </a:p>
          <a:p>
            <a:pPr>
              <a:spcBef>
                <a:spcPts val="256"/>
              </a:spcBef>
              <a:spcAft>
                <a:spcPts val="256"/>
              </a:spcAft>
              <a:buClr>
                <a:srgbClr val="2D2B8D"/>
              </a:buClr>
              <a:buSzPct val="100000"/>
            </a:pPr>
            <a:r>
              <a:rPr lang="ru-RU" sz="1022" dirty="0">
                <a:solidFill>
                  <a:srgbClr val="6F8DB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заимодействие с предприятиями и вузами региона</a:t>
            </a:r>
          </a:p>
          <a:p>
            <a:pPr>
              <a:spcBef>
                <a:spcPts val="256"/>
              </a:spcBef>
              <a:spcAft>
                <a:spcPts val="256"/>
              </a:spcAft>
              <a:buClr>
                <a:srgbClr val="2D2B8D"/>
              </a:buClr>
              <a:buSzPct val="100000"/>
            </a:pPr>
            <a:r>
              <a:rPr lang="ru-RU" sz="1022" dirty="0">
                <a:solidFill>
                  <a:srgbClr val="6F8DB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личие современного технологического оборудования в школе</a:t>
            </a:r>
          </a:p>
          <a:p>
            <a:pPr>
              <a:spcBef>
                <a:spcPts val="256"/>
              </a:spcBef>
              <a:spcAft>
                <a:spcPts val="256"/>
              </a:spcAft>
              <a:buClr>
                <a:srgbClr val="2D2B8D"/>
              </a:buClr>
              <a:buSzPct val="100000"/>
            </a:pPr>
            <a:r>
              <a:rPr lang="ru-RU" sz="1022" dirty="0">
                <a:solidFill>
                  <a:srgbClr val="6F8DB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рофессиональные пробы</a:t>
            </a:r>
          </a:p>
          <a:p>
            <a:pPr marL="329949" indent="-243405">
              <a:buClr>
                <a:srgbClr val="4366A1"/>
              </a:buClr>
              <a:buSzPts val="2000"/>
              <a:buFont typeface="Arial" panose="020B0604020202020204" pitchFamily="34" charset="0"/>
              <a:buChar char="•"/>
            </a:pPr>
            <a:endParaRPr lang="ru-RU" sz="341" dirty="0">
              <a:solidFill>
                <a:srgbClr val="2D2B8D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69901" y="1546877"/>
            <a:ext cx="7781096" cy="18357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spcAft>
                <a:spcPts val="900"/>
              </a:spcAft>
              <a:defRPr sz="14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ru-RU" sz="1200" dirty="0">
                <a:solidFill>
                  <a:schemeClr val="accent5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050" dirty="0">
                <a:solidFill>
                  <a:srgbClr val="364D6E"/>
                </a:solidFill>
              </a:rPr>
              <a:t>Особенности обновлённого ФГОС начального и основного общего образования, вступающие в силу в 2022 г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60431" y="4013917"/>
            <a:ext cx="5744128" cy="18357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spcAft>
                <a:spcPts val="900"/>
              </a:spcAft>
              <a:defRPr sz="1400" b="1">
                <a:solidFill>
                  <a:schemeClr val="accent5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ru-RU" sz="1200" dirty="0">
                <a:solidFill>
                  <a:srgbClr val="364D6E"/>
                </a:solidFill>
                <a:ea typeface="+mn-ea"/>
                <a:cs typeface="+mn-cs"/>
              </a:rPr>
              <a:t>Переход на ФГОС среднего общего образования состоялся в 2021 году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149588" y="2248847"/>
            <a:ext cx="1916707" cy="6430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9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едметные результаты закрепляются</a:t>
            </a:r>
            <a:r>
              <a:rPr lang="en-US" sz="119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19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трого </a:t>
            </a:r>
            <a:endParaRPr lang="en-US" sz="1193" dirty="0">
              <a:solidFill>
                <a:srgbClr val="364D6E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/>
            <a:r>
              <a:rPr lang="ru-RU" sz="119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о годам обучения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949426" y="2140674"/>
            <a:ext cx="3167434" cy="826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9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о ряду предметов вводится модульный принцип организации учебного материала, который образовательная организация комбинирует по своему усмотрению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918055" y="2158311"/>
            <a:ext cx="2501121" cy="826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9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Каждый учебник должен иметь системы ссылок на электронные информационные источники (надёжные и достоверные) 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2296979" y="629230"/>
            <a:ext cx="8181831" cy="304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533" spc="-34" dirty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новление </a:t>
            </a:r>
            <a:r>
              <a:rPr lang="ru-RU" sz="1533" spc="-34" dirty="0" smtClean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ГОС</a:t>
            </a:r>
            <a:endParaRPr lang="ru-RU" sz="1533" spc="-34" dirty="0">
              <a:solidFill>
                <a:srgbClr val="29479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6" name="Прямая соединительная линия 75"/>
          <p:cNvCxnSpPr>
            <a:cxnSpLocks/>
          </p:cNvCxnSpPr>
          <p:nvPr/>
        </p:nvCxnSpPr>
        <p:spPr>
          <a:xfrm flipH="1">
            <a:off x="660435" y="3563589"/>
            <a:ext cx="9839351" cy="0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51AE8E24-3276-4F37-BCD1-C914CA8A4FBE}"/>
              </a:ext>
            </a:extLst>
          </p:cNvPr>
          <p:cNvSpPr txBox="1"/>
          <p:nvPr/>
        </p:nvSpPr>
        <p:spPr>
          <a:xfrm>
            <a:off x="721629" y="2136185"/>
            <a:ext cx="558166" cy="878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111" b="1" dirty="0">
                <a:solidFill>
                  <a:srgbClr val="6F8DB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endParaRPr lang="ru-RU" sz="5111" b="1" dirty="0">
              <a:solidFill>
                <a:srgbClr val="6F8DB9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BCF0A8CF-55DD-4942-8E96-FF77462AEDF9}"/>
              </a:ext>
            </a:extLst>
          </p:cNvPr>
          <p:cNvSpPr txBox="1"/>
          <p:nvPr/>
        </p:nvSpPr>
        <p:spPr>
          <a:xfrm>
            <a:off x="3440260" y="2136185"/>
            <a:ext cx="558166" cy="878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111" b="1" dirty="0">
                <a:solidFill>
                  <a:srgbClr val="6F8DB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endParaRPr lang="ru-RU" sz="5111" b="1" dirty="0">
              <a:solidFill>
                <a:srgbClr val="6F8DB9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5AFC509B-F1CA-4033-A5DB-4735537FF696}"/>
              </a:ext>
            </a:extLst>
          </p:cNvPr>
          <p:cNvSpPr txBox="1"/>
          <p:nvPr/>
        </p:nvSpPr>
        <p:spPr>
          <a:xfrm>
            <a:off x="7463331" y="2136185"/>
            <a:ext cx="558166" cy="878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111" b="1" dirty="0">
                <a:solidFill>
                  <a:srgbClr val="6F8DB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  <a:endParaRPr lang="ru-RU" sz="5111" b="1" dirty="0">
              <a:solidFill>
                <a:srgbClr val="6F8DB9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" name="Номер слайда 2">
            <a:extLst>
              <a:ext uri="{FF2B5EF4-FFF2-40B4-BE49-F238E27FC236}">
                <a16:creationId xmlns:a16="http://schemas.microsoft.com/office/drawing/2014/main" xmlns="" id="{B1BA7013-5550-4BB6-991A-37079211B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45768" y="7298521"/>
            <a:ext cx="2336594" cy="311005"/>
          </a:xfrm>
        </p:spPr>
        <p:txBody>
          <a:bodyPr/>
          <a:lstStyle/>
          <a:p>
            <a:fld id="{8AD70286-9A37-49D5-84CC-170BFF34E83D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2787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Freeform 55"/>
          <p:cNvSpPr>
            <a:spLocks noEditPoints="1"/>
          </p:cNvSpPr>
          <p:nvPr/>
        </p:nvSpPr>
        <p:spPr bwMode="auto">
          <a:xfrm>
            <a:off x="4699823" y="931213"/>
            <a:ext cx="338627" cy="29702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03849" tIns="51924" rIns="103849" bIns="51924" numCol="1" anchor="t" anchorCtr="0" compatLnSpc="1">
            <a:prstTxWarp prst="textNoShape">
              <a:avLst/>
            </a:prstTxWarp>
          </a:bodyPr>
          <a:lstStyle/>
          <a:p>
            <a:endParaRPr lang="ru-RU" sz="2044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6103782" y="3151025"/>
            <a:ext cx="3622588" cy="818016"/>
            <a:chOff x="6071969" y="2780599"/>
            <a:chExt cx="4252977" cy="960364"/>
          </a:xfrm>
        </p:grpSpPr>
        <p:sp>
          <p:nvSpPr>
            <p:cNvPr id="381" name="Rectangle 9"/>
            <p:cNvSpPr>
              <a:spLocks noChangeArrowheads="1"/>
            </p:cNvSpPr>
            <p:nvPr/>
          </p:nvSpPr>
          <p:spPr bwMode="auto">
            <a:xfrm>
              <a:off x="6071969" y="2780599"/>
              <a:ext cx="4250199" cy="95259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3D1A1"/>
              </a:solidFill>
            </a:ln>
          </p:spPr>
          <p:txBody>
            <a:bodyPr vert="horz" wrap="square" lIns="103849" tIns="51924" rIns="103849" bIns="51924" numCol="1" anchor="t" anchorCtr="0" compatLnSpc="1">
              <a:prstTxWarp prst="textNoShape">
                <a:avLst/>
              </a:prstTxWarp>
            </a:bodyPr>
            <a:lstStyle/>
            <a:p>
              <a:endParaRPr lang="ru-RU" sz="2044" dirty="0"/>
            </a:p>
          </p:txBody>
        </p:sp>
        <p:sp>
          <p:nvSpPr>
            <p:cNvPr id="382" name="TextBox 381"/>
            <p:cNvSpPr txBox="1"/>
            <p:nvPr/>
          </p:nvSpPr>
          <p:spPr>
            <a:xfrm>
              <a:off x="7158924" y="2974228"/>
              <a:ext cx="3166022" cy="576449"/>
            </a:xfrm>
            <a:prstGeom prst="rect">
              <a:avLst/>
            </a:prstGeom>
            <a:noFill/>
          </p:spPr>
          <p:txBody>
            <a:bodyPr wrap="square" lIns="61328" tIns="61328" rIns="61328" bIns="61328" rtlCol="0">
              <a:spAutoFit/>
            </a:bodyPr>
            <a:lstStyle/>
            <a:p>
              <a:r>
                <a:rPr lang="ru-RU" sz="1193" b="1" dirty="0">
                  <a:solidFill>
                    <a:srgbClr val="43D1A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Модернизация системы воспитания </a:t>
              </a:r>
            </a:p>
          </p:txBody>
        </p:sp>
        <p:sp>
          <p:nvSpPr>
            <p:cNvPr id="383" name="Rectangle 9"/>
            <p:cNvSpPr>
              <a:spLocks noChangeArrowheads="1"/>
            </p:cNvSpPr>
            <p:nvPr/>
          </p:nvSpPr>
          <p:spPr bwMode="auto">
            <a:xfrm>
              <a:off x="6079674" y="2788373"/>
              <a:ext cx="952451" cy="952590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</p:spPr>
          <p:txBody>
            <a:bodyPr vert="horz" wrap="square" lIns="103849" tIns="51924" rIns="103849" bIns="51924" numCol="1" anchor="t" anchorCtr="0" compatLnSpc="1">
              <a:prstTxWarp prst="textNoShape">
                <a:avLst/>
              </a:prstTxWarp>
            </a:bodyPr>
            <a:lstStyle/>
            <a:p>
              <a:endParaRPr lang="ru-RU" sz="2044" dirty="0"/>
            </a:p>
          </p:txBody>
        </p:sp>
        <p:pic>
          <p:nvPicPr>
            <p:cNvPr id="62466" name="Picture 2" descr="https://xn--43-6kcd9amuv9k.xn--p1ai/images/36/2020/10/5/7db93fac5107f28aa2caad4de03f4b57-xl_1024x683_ad7.jpg"/>
            <p:cNvPicPr>
              <a:picLocks noChangeAspect="1" noChangeArrowheads="1"/>
            </p:cNvPicPr>
            <p:nvPr/>
          </p:nvPicPr>
          <p:blipFill rotWithShape="1">
            <a:blip r:embed="rId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92" t="4075" r="22083" b="26075"/>
            <a:stretch/>
          </p:blipFill>
          <p:spPr bwMode="auto">
            <a:xfrm>
              <a:off x="6152083" y="2929341"/>
              <a:ext cx="738803" cy="630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Группа 2"/>
          <p:cNvGrpSpPr/>
          <p:nvPr/>
        </p:nvGrpSpPr>
        <p:grpSpPr>
          <a:xfrm>
            <a:off x="6098790" y="4048200"/>
            <a:ext cx="3630547" cy="886816"/>
            <a:chOff x="6066106" y="3852000"/>
            <a:chExt cx="4262321" cy="1041136"/>
          </a:xfrm>
        </p:grpSpPr>
        <p:sp>
          <p:nvSpPr>
            <p:cNvPr id="398" name="Rectangle 9"/>
            <p:cNvSpPr>
              <a:spLocks noChangeArrowheads="1"/>
            </p:cNvSpPr>
            <p:nvPr/>
          </p:nvSpPr>
          <p:spPr bwMode="auto">
            <a:xfrm>
              <a:off x="6072059" y="3852000"/>
              <a:ext cx="4256368" cy="103386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5B9BD5"/>
              </a:solidFill>
            </a:ln>
          </p:spPr>
          <p:txBody>
            <a:bodyPr vert="horz" wrap="square" lIns="103849" tIns="51924" rIns="103849" bIns="51924" numCol="1" anchor="t" anchorCtr="0" compatLnSpc="1">
              <a:prstTxWarp prst="textNoShape">
                <a:avLst/>
              </a:prstTxWarp>
            </a:bodyPr>
            <a:lstStyle/>
            <a:p>
              <a:endParaRPr lang="ru-RU" sz="2044" dirty="0"/>
            </a:p>
          </p:txBody>
        </p:sp>
        <p:sp>
          <p:nvSpPr>
            <p:cNvPr id="399" name="Rectangle 9"/>
            <p:cNvSpPr>
              <a:spLocks noChangeArrowheads="1"/>
            </p:cNvSpPr>
            <p:nvPr/>
          </p:nvSpPr>
          <p:spPr bwMode="auto">
            <a:xfrm>
              <a:off x="6066106" y="3859273"/>
              <a:ext cx="953833" cy="1033863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</p:spPr>
          <p:txBody>
            <a:bodyPr vert="horz" wrap="square" lIns="103849" tIns="51924" rIns="103849" bIns="51924" numCol="1" anchor="t" anchorCtr="0" compatLnSpc="1">
              <a:prstTxWarp prst="textNoShape">
                <a:avLst/>
              </a:prstTxWarp>
            </a:bodyPr>
            <a:lstStyle/>
            <a:p>
              <a:endParaRPr lang="ru-RU" sz="2044" dirty="0"/>
            </a:p>
          </p:txBody>
        </p:sp>
        <p:sp>
          <p:nvSpPr>
            <p:cNvPr id="401" name="TextBox 400"/>
            <p:cNvSpPr txBox="1"/>
            <p:nvPr/>
          </p:nvSpPr>
          <p:spPr>
            <a:xfrm>
              <a:off x="7155112" y="4097949"/>
              <a:ext cx="3166022" cy="576449"/>
            </a:xfrm>
            <a:prstGeom prst="rect">
              <a:avLst/>
            </a:prstGeom>
            <a:noFill/>
          </p:spPr>
          <p:txBody>
            <a:bodyPr wrap="square" lIns="61328" tIns="61328" rIns="61328" bIns="61328" rtlCol="0">
              <a:spAutoFit/>
            </a:bodyPr>
            <a:lstStyle>
              <a:defPPr>
                <a:defRPr lang="ru-RU"/>
              </a:defPPr>
              <a:lvl1pPr algn="ctr">
                <a:defRPr b="1" spc="-4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ru-RU" sz="1193" dirty="0">
                  <a:solidFill>
                    <a:srgbClr val="5B9BD5"/>
                  </a:solidFill>
                  <a:latin typeface="Open Sans" panose="020B0606030504020204" pitchFamily="34" charset="0"/>
                </a:rPr>
                <a:t>Обновление содержания </a:t>
              </a:r>
              <a:endParaRPr lang="en-US" sz="1193" dirty="0">
                <a:solidFill>
                  <a:srgbClr val="5B9BD5"/>
                </a:solidFill>
                <a:latin typeface="Open Sans" panose="020B0606030504020204" pitchFamily="34" charset="0"/>
              </a:endParaRPr>
            </a:p>
            <a:p>
              <a:pPr algn="l"/>
              <a:r>
                <a:rPr lang="ru-RU" sz="1193" dirty="0">
                  <a:solidFill>
                    <a:srgbClr val="5B9BD5"/>
                  </a:solidFill>
                  <a:latin typeface="Open Sans" panose="020B0606030504020204" pitchFamily="34" charset="0"/>
                </a:rPr>
                <a:t>учебников и учебных пособий</a:t>
              </a:r>
            </a:p>
          </p:txBody>
        </p:sp>
        <p:sp>
          <p:nvSpPr>
            <p:cNvPr id="406" name="Freeform 45"/>
            <p:cNvSpPr>
              <a:spLocks noEditPoints="1"/>
            </p:cNvSpPr>
            <p:nvPr/>
          </p:nvSpPr>
          <p:spPr bwMode="auto">
            <a:xfrm>
              <a:off x="6246417" y="4068291"/>
              <a:ext cx="580637" cy="567288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49" tIns="51924" rIns="103849" bIns="51924" numCol="1" anchor="t" anchorCtr="0" compatLnSpc="1">
              <a:prstTxWarp prst="textNoShape">
                <a:avLst/>
              </a:prstTxWarp>
            </a:bodyPr>
            <a:lstStyle/>
            <a:p>
              <a:endParaRPr lang="ru-RU" sz="2044" dirty="0"/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6098720" y="5015641"/>
            <a:ext cx="3624403" cy="880184"/>
            <a:chOff x="6066026" y="4969684"/>
            <a:chExt cx="4255108" cy="1033349"/>
          </a:xfrm>
        </p:grpSpPr>
        <p:sp>
          <p:nvSpPr>
            <p:cNvPr id="424" name="Rectangle 9"/>
            <p:cNvSpPr>
              <a:spLocks noChangeArrowheads="1"/>
            </p:cNvSpPr>
            <p:nvPr/>
          </p:nvSpPr>
          <p:spPr bwMode="auto">
            <a:xfrm>
              <a:off x="6091025" y="4969684"/>
              <a:ext cx="4230109" cy="102370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64D6E"/>
              </a:solidFill>
            </a:ln>
          </p:spPr>
          <p:txBody>
            <a:bodyPr vert="horz" wrap="square" lIns="103849" tIns="51924" rIns="103849" bIns="51924" numCol="1" anchor="t" anchorCtr="0" compatLnSpc="1">
              <a:prstTxWarp prst="textNoShape">
                <a:avLst/>
              </a:prstTxWarp>
            </a:bodyPr>
            <a:lstStyle/>
            <a:p>
              <a:endParaRPr lang="ru-RU" sz="2044" dirty="0"/>
            </a:p>
          </p:txBody>
        </p:sp>
        <p:sp>
          <p:nvSpPr>
            <p:cNvPr id="425" name="Rectangle 9"/>
            <p:cNvSpPr>
              <a:spLocks noChangeArrowheads="1"/>
            </p:cNvSpPr>
            <p:nvPr/>
          </p:nvSpPr>
          <p:spPr bwMode="auto">
            <a:xfrm>
              <a:off x="6066026" y="4979331"/>
              <a:ext cx="947949" cy="1023702"/>
            </a:xfrm>
            <a:prstGeom prst="rect">
              <a:avLst/>
            </a:prstGeom>
            <a:solidFill>
              <a:srgbClr val="364D6E"/>
            </a:solidFill>
            <a:ln>
              <a:noFill/>
            </a:ln>
          </p:spPr>
          <p:txBody>
            <a:bodyPr vert="horz" wrap="square" lIns="103849" tIns="51924" rIns="103849" bIns="51924" numCol="1" anchor="t" anchorCtr="0" compatLnSpc="1">
              <a:prstTxWarp prst="textNoShape">
                <a:avLst/>
              </a:prstTxWarp>
            </a:bodyPr>
            <a:lstStyle/>
            <a:p>
              <a:endParaRPr lang="ru-RU" sz="2044" dirty="0"/>
            </a:p>
          </p:txBody>
        </p:sp>
        <p:sp>
          <p:nvSpPr>
            <p:cNvPr id="426" name="TextBox 425"/>
            <p:cNvSpPr txBox="1"/>
            <p:nvPr/>
          </p:nvSpPr>
          <p:spPr>
            <a:xfrm>
              <a:off x="7122831" y="5067941"/>
              <a:ext cx="3166022" cy="791969"/>
            </a:xfrm>
            <a:prstGeom prst="rect">
              <a:avLst/>
            </a:prstGeom>
            <a:noFill/>
          </p:spPr>
          <p:txBody>
            <a:bodyPr wrap="square" lIns="61328" tIns="61328" rIns="61328" bIns="61328" rtlCol="0">
              <a:spAutoFit/>
            </a:bodyPr>
            <a:lstStyle>
              <a:defPPr>
                <a:defRPr lang="ru-RU"/>
              </a:defPPr>
              <a:lvl1pPr algn="ctr">
                <a:defRPr b="1" spc="-40">
                  <a:solidFill>
                    <a:schemeClr val="tx1">
                      <a:lumMod val="85000"/>
                      <a:lumOff val="1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ru-RU" sz="1193" dirty="0">
                  <a:solidFill>
                    <a:srgbClr val="364D6E"/>
                  </a:solidFill>
                </a:rPr>
                <a:t>Поддержка и развитие </a:t>
              </a:r>
              <a:endParaRPr lang="en-US" sz="1193" dirty="0">
                <a:solidFill>
                  <a:srgbClr val="364D6E"/>
                </a:solidFill>
              </a:endParaRPr>
            </a:p>
            <a:p>
              <a:pPr algn="l"/>
              <a:r>
                <a:rPr lang="ru-RU" sz="1193" dirty="0">
                  <a:solidFill>
                    <a:srgbClr val="364D6E"/>
                  </a:solidFill>
                </a:rPr>
                <a:t>талантов, профориентация </a:t>
              </a:r>
              <a:endParaRPr lang="en-US" sz="1193" dirty="0">
                <a:solidFill>
                  <a:srgbClr val="364D6E"/>
                </a:solidFill>
              </a:endParaRPr>
            </a:p>
            <a:p>
              <a:pPr algn="l"/>
              <a:r>
                <a:rPr lang="ru-RU" sz="1193" dirty="0">
                  <a:solidFill>
                    <a:srgbClr val="364D6E"/>
                  </a:solidFill>
                </a:rPr>
                <a:t>и предпрофильное образование </a:t>
              </a:r>
            </a:p>
          </p:txBody>
        </p:sp>
        <p:sp>
          <p:nvSpPr>
            <p:cNvPr id="449" name="Freeform 46"/>
            <p:cNvSpPr>
              <a:spLocks noEditPoints="1"/>
            </p:cNvSpPr>
            <p:nvPr/>
          </p:nvSpPr>
          <p:spPr bwMode="auto">
            <a:xfrm>
              <a:off x="6491366" y="5321257"/>
              <a:ext cx="399279" cy="588461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49" tIns="51924" rIns="103849" bIns="51924" numCol="1" anchor="t" anchorCtr="0" compatLnSpc="1">
              <a:prstTxWarp prst="textNoShape">
                <a:avLst/>
              </a:prstTxWarp>
            </a:bodyPr>
            <a:lstStyle/>
            <a:p>
              <a:endParaRPr lang="ru-RU" sz="2044" dirty="0"/>
            </a:p>
          </p:txBody>
        </p:sp>
        <p:sp>
          <p:nvSpPr>
            <p:cNvPr id="451" name="Freeform 41"/>
            <p:cNvSpPr>
              <a:spLocks/>
            </p:cNvSpPr>
            <p:nvPr/>
          </p:nvSpPr>
          <p:spPr bwMode="auto">
            <a:xfrm>
              <a:off x="6166402" y="5047979"/>
              <a:ext cx="447609" cy="450686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49" tIns="51924" rIns="103849" bIns="51924" numCol="1" anchor="t" anchorCtr="0" compatLnSpc="1">
              <a:prstTxWarp prst="textNoShape">
                <a:avLst/>
              </a:prstTxWarp>
            </a:bodyPr>
            <a:lstStyle/>
            <a:p>
              <a:endParaRPr lang="ru-RU" sz="2044" dirty="0"/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1405996" y="2180671"/>
            <a:ext cx="3461460" cy="85923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 dirty="0">
              <a:solidFill>
                <a:srgbClr val="5B9BD5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698593" y="2481531"/>
            <a:ext cx="2835578" cy="271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  <a:defRPr/>
            </a:pPr>
            <a:r>
              <a:rPr lang="ru-RU" sz="1363" b="1" spc="-34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новление ФГОС</a:t>
            </a:r>
            <a:endParaRPr lang="en-US" sz="1363" b="1" spc="-34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367971" y="4132749"/>
            <a:ext cx="2501231" cy="728350"/>
          </a:xfrm>
          <a:prstGeom prst="rect">
            <a:avLst/>
          </a:prstGeom>
          <a:solidFill>
            <a:srgbClr val="D2DEEF">
              <a:alpha val="27000"/>
            </a:srgbClr>
          </a:solidFill>
        </p:spPr>
        <p:txBody>
          <a:bodyPr wrap="square" lIns="153320" rtlCol="0" anchor="ctr">
            <a:noAutofit/>
          </a:bodyPr>
          <a:lstStyle/>
          <a:p>
            <a: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ервое полугодие 202</a:t>
            </a:r>
            <a:r>
              <a:rPr lang="en-US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r>
              <a:rPr lang="ru-RU" sz="1022" b="1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ода </a:t>
            </a:r>
            <a:b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закупка учебников, соответствующих</a:t>
            </a:r>
            <a:endParaRPr lang="en-US" sz="1022" dirty="0">
              <a:solidFill>
                <a:srgbClr val="364D6E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НОВЛЕННОМУ ФГОС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367" y="4183673"/>
            <a:ext cx="638919" cy="638919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2377543" y="5086175"/>
            <a:ext cx="2501232" cy="728350"/>
          </a:xfrm>
          <a:prstGeom prst="rect">
            <a:avLst/>
          </a:prstGeom>
          <a:solidFill>
            <a:srgbClr val="D2DEEF">
              <a:alpha val="27000"/>
            </a:srgbClr>
          </a:solidFill>
        </p:spPr>
        <p:txBody>
          <a:bodyPr wrap="square" lIns="153320" rtlCol="0" anchor="ctr">
            <a:noAutofit/>
          </a:bodyPr>
          <a:lstStyle/>
          <a:p>
            <a: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 </a:t>
            </a:r>
            <a:r>
              <a:rPr lang="ru-RU" sz="136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1.09.202</a:t>
            </a:r>
            <a:r>
              <a:rPr lang="en-US" sz="136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r>
              <a:rPr lang="ru-RU" sz="136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ода </a:t>
            </a:r>
            <a:b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недрение</a:t>
            </a:r>
            <a:r>
              <a:rPr lang="en-US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022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НОВЛЕННОГО ФГОС</a:t>
            </a: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38542">
            <a:off x="1434622" y="5211811"/>
            <a:ext cx="581440" cy="588601"/>
          </a:xfrm>
          <a:prstGeom prst="rect">
            <a:avLst/>
          </a:prstGeom>
        </p:spPr>
      </p:pic>
      <p:sp>
        <p:nvSpPr>
          <p:cNvPr id="79" name="Прямоугольник 78"/>
          <p:cNvSpPr/>
          <p:nvPr/>
        </p:nvSpPr>
        <p:spPr>
          <a:xfrm>
            <a:off x="2296981" y="576830"/>
            <a:ext cx="8181831" cy="56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33" spc="-34" dirty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зменения в связи с обновлением Федеральных государственных образовательных стандартов в 2022 году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8711F62C-49DC-4A78-BC40-C1E4FDA61514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4867456" y="2610288"/>
            <a:ext cx="3054113" cy="0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CEB391B3-5691-49AE-A25C-05932CFA821B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7921567" y="2610287"/>
            <a:ext cx="0" cy="355164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11AD4CF7-4455-481A-B648-BB38CCF3F96B}"/>
              </a:ext>
            </a:extLst>
          </p:cNvPr>
          <p:cNvSpPr/>
          <p:nvPr/>
        </p:nvSpPr>
        <p:spPr>
          <a:xfrm>
            <a:off x="5907794" y="2965452"/>
            <a:ext cx="4027550" cy="3106620"/>
          </a:xfrm>
          <a:prstGeom prst="rect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50" name="Номер слайда 2">
            <a:extLst>
              <a:ext uri="{FF2B5EF4-FFF2-40B4-BE49-F238E27FC236}">
                <a16:creationId xmlns:a16="http://schemas.microsoft.com/office/drawing/2014/main" xmlns="" id="{514F6FB2-EB36-4613-BC2C-BA39E75FABC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245770" y="7298519"/>
            <a:ext cx="2336594" cy="311005"/>
          </a:xfrm>
        </p:spPr>
        <p:txBody>
          <a:bodyPr/>
          <a:lstStyle/>
          <a:p>
            <a:fld id="{8AD70286-9A37-49D5-84CC-170BFF34E83D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6081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Freeform 55"/>
          <p:cNvSpPr>
            <a:spLocks noEditPoints="1"/>
          </p:cNvSpPr>
          <p:nvPr/>
        </p:nvSpPr>
        <p:spPr bwMode="auto">
          <a:xfrm>
            <a:off x="4699817" y="941154"/>
            <a:ext cx="338627" cy="29702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03849" tIns="51924" rIns="103849" bIns="51924" numCol="1" anchor="t" anchorCtr="0" compatLnSpc="1">
            <a:prstTxWarp prst="textNoShape">
              <a:avLst/>
            </a:prstTxWarp>
          </a:bodyPr>
          <a:lstStyle/>
          <a:p>
            <a:endParaRPr lang="ru-RU" sz="2044" dirty="0"/>
          </a:p>
        </p:txBody>
      </p:sp>
      <p:sp>
        <p:nvSpPr>
          <p:cNvPr id="79" name="Прямоугольник 78"/>
          <p:cNvSpPr/>
          <p:nvPr/>
        </p:nvSpPr>
        <p:spPr>
          <a:xfrm>
            <a:off x="2296977" y="610019"/>
            <a:ext cx="8181831" cy="304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533" spc="-34" dirty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зовы при переходе на новые ФГОС в 2022 году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914D41D-3690-4CE9-91F6-2893E3A9A18E}"/>
              </a:ext>
            </a:extLst>
          </p:cNvPr>
          <p:cNvSpPr txBox="1"/>
          <p:nvPr/>
        </p:nvSpPr>
        <p:spPr>
          <a:xfrm>
            <a:off x="776269" y="6180481"/>
            <a:ext cx="4129828" cy="45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93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того необходимо на полный цикл </a:t>
            </a:r>
            <a:br>
              <a:rPr lang="ru-RU" sz="1193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193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еспечение школ новыми учебниками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FA553A46-8E02-4DAB-9BEC-27C7AD608D50}"/>
              </a:ext>
            </a:extLst>
          </p:cNvPr>
          <p:cNvSpPr txBox="1"/>
          <p:nvPr/>
        </p:nvSpPr>
        <p:spPr>
          <a:xfrm>
            <a:off x="5372982" y="6232911"/>
            <a:ext cx="1845019" cy="354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93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 </a:t>
            </a:r>
            <a:r>
              <a:rPr lang="ru-RU" sz="1704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</a:t>
            </a:r>
            <a:r>
              <a:rPr lang="ru-RU" sz="1193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месяцев</a:t>
            </a:r>
          </a:p>
        </p:txBody>
      </p:sp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xmlns="" id="{4D527263-AF7F-493C-925E-0D6037B248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4652576"/>
              </p:ext>
            </p:extLst>
          </p:nvPr>
        </p:nvGraphicFramePr>
        <p:xfrm>
          <a:off x="669902" y="2077879"/>
          <a:ext cx="6837471" cy="34115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85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788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0824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Этапы</a:t>
                      </a:r>
                      <a:r>
                        <a:rPr lang="ru-RU" sz="900" baseline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работы по подготовке учебников</a:t>
                      </a:r>
                      <a:endParaRPr lang="ru-RU" sz="9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83984" marR="77886" marT="61328" marB="61328" anchor="ctr">
                    <a:lnL w="12700" cmpd="sng">
                      <a:noFill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>
                          <a:solidFill>
                            <a:schemeClr val="lt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тандартное время на выполнение</a:t>
                      </a: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5873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Подготовка к экспертизе, переработка учебников</a:t>
                      </a:r>
                      <a:endParaRPr lang="ru-RU" sz="1000" dirty="0">
                        <a:solidFill>
                          <a:srgbClr val="364D6E"/>
                        </a:solidFill>
                      </a:endParaRP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до</a:t>
                      </a:r>
                      <a:r>
                        <a:rPr lang="ru-RU" sz="1000" b="1" baseline="0" dirty="0">
                          <a:solidFill>
                            <a:srgbClr val="364D6E"/>
                          </a:solidFill>
                        </a:rPr>
                        <a:t> 5 месяцев</a:t>
                      </a:r>
                      <a:endParaRPr lang="ru-RU" sz="1000" b="1" dirty="0">
                        <a:solidFill>
                          <a:srgbClr val="364D6E"/>
                        </a:solidFill>
                      </a:endParaRP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1221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Проведение экспертизы учебников и включение в ФПУ </a:t>
                      </a:r>
                    </a:p>
                    <a:p>
                      <a:pPr algn="l"/>
                      <a:r>
                        <a:rPr lang="ru-RU" sz="900" b="0" dirty="0">
                          <a:solidFill>
                            <a:srgbClr val="364D6E"/>
                          </a:solidFill>
                        </a:rPr>
                        <a:t>(согласно Порядку формирования федерального перечня)</a:t>
                      </a: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до</a:t>
                      </a:r>
                      <a:r>
                        <a:rPr lang="ru-RU" sz="1000" b="1" baseline="0" dirty="0">
                          <a:solidFill>
                            <a:srgbClr val="364D6E"/>
                          </a:solidFill>
                        </a:rPr>
                        <a:t> 8 месяцев</a:t>
                      </a:r>
                      <a:endParaRPr lang="ru-RU" sz="1000" b="1" dirty="0">
                        <a:solidFill>
                          <a:srgbClr val="364D6E"/>
                        </a:solidFill>
                      </a:endParaRP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5448">
                <a:tc>
                  <a:txBody>
                    <a:bodyPr/>
                    <a:lstStyle/>
                    <a:p>
                      <a:pPr lvl="1" algn="l"/>
                      <a:r>
                        <a:rPr lang="ru-RU" sz="900" dirty="0">
                          <a:solidFill>
                            <a:srgbClr val="364D6E"/>
                          </a:solidFill>
                        </a:rPr>
                        <a:t>Проведение экспертизы (подача с 20 февраля по 20 апреля) </a:t>
                      </a: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544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364D6E"/>
                          </a:solidFill>
                        </a:rPr>
                        <a:t>Утверждение и публикация приказа по ФПУ</a:t>
                      </a: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21221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Сбор потребностей регионов </a:t>
                      </a:r>
                    </a:p>
                    <a:p>
                      <a:pPr algn="l"/>
                      <a:r>
                        <a:rPr lang="ru-RU" sz="900" b="0" kern="1200" dirty="0">
                          <a:solidFill>
                            <a:srgbClr val="364D6E"/>
                          </a:solidFill>
                          <a:latin typeface="+mn-lt"/>
                          <a:ea typeface="+mn-ea"/>
                          <a:cs typeface="+mn-cs"/>
                        </a:rPr>
                        <a:t>(параллельно с производством учебников)</a:t>
                      </a: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baseline="0" dirty="0">
                          <a:solidFill>
                            <a:srgbClr val="364D6E"/>
                          </a:solidFill>
                        </a:rPr>
                        <a:t>от 1 месяца</a:t>
                      </a:r>
                      <a:endParaRPr lang="ru-RU" sz="1000" b="1" dirty="0">
                        <a:solidFill>
                          <a:srgbClr val="364D6E"/>
                        </a:solidFill>
                      </a:endParaRP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64013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Производство учебников</a:t>
                      </a:r>
                      <a:endParaRPr lang="ru-RU" sz="1000" dirty="0">
                        <a:solidFill>
                          <a:srgbClr val="364D6E"/>
                        </a:solidFill>
                      </a:endParaRP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до 6 месяцев</a:t>
                      </a:r>
                      <a:r>
                        <a:rPr lang="en-US" sz="1000" b="1" dirty="0">
                          <a:solidFill>
                            <a:srgbClr val="364D6E"/>
                          </a:solidFill>
                        </a:rPr>
                        <a:t> </a:t>
                      </a:r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/>
                      </a:r>
                      <a:br>
                        <a:rPr lang="ru-RU" sz="1000" b="1" dirty="0">
                          <a:solidFill>
                            <a:srgbClr val="364D6E"/>
                          </a:solidFill>
                        </a:rPr>
                      </a:br>
                      <a:r>
                        <a:rPr lang="ru-RU" sz="900" dirty="0">
                          <a:solidFill>
                            <a:srgbClr val="364D6E"/>
                          </a:solidFill>
                        </a:rPr>
                        <a:t>для обеспечения </a:t>
                      </a:r>
                      <a:br>
                        <a:rPr lang="ru-RU" sz="900" dirty="0">
                          <a:solidFill>
                            <a:srgbClr val="364D6E"/>
                          </a:solidFill>
                        </a:rPr>
                      </a:br>
                      <a:r>
                        <a:rPr lang="ru-RU" sz="900" dirty="0">
                          <a:solidFill>
                            <a:srgbClr val="364D6E"/>
                          </a:solidFill>
                        </a:rPr>
                        <a:t>потребности всех школ</a:t>
                      </a: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34202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Доставка до региона</a:t>
                      </a:r>
                      <a:endParaRPr lang="ru-RU" sz="1000" dirty="0">
                        <a:solidFill>
                          <a:srgbClr val="364D6E"/>
                        </a:solidFill>
                      </a:endParaRP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1,5</a:t>
                      </a:r>
                      <a:r>
                        <a:rPr lang="ru-RU" sz="1000" b="1" baseline="0" dirty="0">
                          <a:solidFill>
                            <a:srgbClr val="364D6E"/>
                          </a:solidFill>
                        </a:rPr>
                        <a:t> месяца </a:t>
                      </a:r>
                      <a:r>
                        <a:rPr lang="ru-RU" sz="900" baseline="0" dirty="0">
                          <a:solidFill>
                            <a:srgbClr val="364D6E"/>
                          </a:solidFill>
                        </a:rPr>
                        <a:t>в среднем по России</a:t>
                      </a:r>
                    </a:p>
                    <a:p>
                      <a:pPr algn="ctr"/>
                      <a:r>
                        <a:rPr lang="ru-RU" sz="1000" b="1" baseline="0" dirty="0">
                          <a:solidFill>
                            <a:srgbClr val="364D6E"/>
                          </a:solidFill>
                        </a:rPr>
                        <a:t>до 3 месяцев </a:t>
                      </a:r>
                      <a:r>
                        <a:rPr lang="ru-RU" sz="900" baseline="0" dirty="0">
                          <a:solidFill>
                            <a:srgbClr val="364D6E"/>
                          </a:solidFill>
                        </a:rPr>
                        <a:t>в отдельных регионах</a:t>
                      </a:r>
                      <a:endParaRPr lang="ru-RU" sz="900" dirty="0">
                        <a:solidFill>
                          <a:srgbClr val="364D6E"/>
                        </a:solidFill>
                      </a:endParaRP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58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Доставка до школ к 01 сентября 2022 года</a:t>
                      </a:r>
                      <a:endParaRPr lang="ru-RU" sz="1000" dirty="0">
                        <a:solidFill>
                          <a:srgbClr val="364D6E"/>
                        </a:solidFill>
                      </a:endParaRP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rgbClr val="364D6E"/>
                          </a:solidFill>
                        </a:rPr>
                        <a:t>от 1 недели</a:t>
                      </a:r>
                    </a:p>
                  </a:txBody>
                  <a:tcPr marL="183984" marR="77886" marT="61328" marB="61328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30BB6CC2-BC88-4859-A57A-CA586E7076F1}"/>
              </a:ext>
            </a:extLst>
          </p:cNvPr>
          <p:cNvSpPr/>
          <p:nvPr/>
        </p:nvSpPr>
        <p:spPr>
          <a:xfrm>
            <a:off x="7783332" y="2077879"/>
            <a:ext cx="2723004" cy="4740364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EC0C7CAF-5CD2-4CF9-B382-5EFEE9E95801}"/>
              </a:ext>
            </a:extLst>
          </p:cNvPr>
          <p:cNvSpPr txBox="1"/>
          <p:nvPr/>
        </p:nvSpPr>
        <p:spPr>
          <a:xfrm>
            <a:off x="7962285" y="4566227"/>
            <a:ext cx="2365097" cy="1276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33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 1 сентября 2022 года осталось всего </a:t>
            </a:r>
            <a:endParaRPr lang="en-US" sz="1533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ru-RU" sz="2044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</a:t>
            </a:r>
            <a:r>
              <a:rPr lang="ru-RU" sz="1533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месяцев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4A5ED9E7-1671-4FC2-843F-7B0B846F66F5}"/>
              </a:ext>
            </a:extLst>
          </p:cNvPr>
          <p:cNvSpPr txBox="1"/>
          <p:nvPr/>
        </p:nvSpPr>
        <p:spPr>
          <a:xfrm>
            <a:off x="8947627" y="3326819"/>
            <a:ext cx="394414" cy="8197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066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xmlns="" id="{CCD11826-0EE5-4AF4-A04A-17A41099AE37}"/>
              </a:ext>
            </a:extLst>
          </p:cNvPr>
          <p:cNvSpPr/>
          <p:nvPr/>
        </p:nvSpPr>
        <p:spPr>
          <a:xfrm>
            <a:off x="8833944" y="3273972"/>
            <a:ext cx="621781" cy="622167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/>
          </a:p>
        </p:txBody>
      </p:sp>
      <p:sp>
        <p:nvSpPr>
          <p:cNvPr id="32" name="Номер слайда 2">
            <a:extLst>
              <a:ext uri="{FF2B5EF4-FFF2-40B4-BE49-F238E27FC236}">
                <a16:creationId xmlns:a16="http://schemas.microsoft.com/office/drawing/2014/main" xmlns="" id="{47C5C498-8515-432D-8E92-DD1F1CB34834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245765" y="7298519"/>
            <a:ext cx="2336594" cy="311005"/>
          </a:xfrm>
        </p:spPr>
        <p:txBody>
          <a:bodyPr/>
          <a:lstStyle/>
          <a:p>
            <a:fld id="{8AD70286-9A37-49D5-84CC-170BFF34E83D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132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/>
          <p:cNvSpPr/>
          <p:nvPr/>
        </p:nvSpPr>
        <p:spPr>
          <a:xfrm>
            <a:off x="669112" y="1804984"/>
            <a:ext cx="9837224" cy="629906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33" dirty="0">
              <a:solidFill>
                <a:srgbClr val="5B9BD5"/>
              </a:solidFill>
            </a:endParaRPr>
          </a:p>
        </p:txBody>
      </p:sp>
      <p:sp>
        <p:nvSpPr>
          <p:cNvPr id="352" name="Freeform 55"/>
          <p:cNvSpPr>
            <a:spLocks noEditPoints="1"/>
          </p:cNvSpPr>
          <p:nvPr/>
        </p:nvSpPr>
        <p:spPr bwMode="auto">
          <a:xfrm>
            <a:off x="4699821" y="961030"/>
            <a:ext cx="338627" cy="29702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03849" tIns="51924" rIns="103849" bIns="51924" numCol="1" anchor="t" anchorCtr="0" compatLnSpc="1">
            <a:prstTxWarp prst="textNoShape">
              <a:avLst/>
            </a:prstTxWarp>
          </a:bodyPr>
          <a:lstStyle/>
          <a:p>
            <a:endParaRPr lang="ru-RU" sz="2044" dirty="0"/>
          </a:p>
        </p:txBody>
      </p:sp>
      <p:sp>
        <p:nvSpPr>
          <p:cNvPr id="79" name="Прямоугольник 78"/>
          <p:cNvSpPr/>
          <p:nvPr/>
        </p:nvSpPr>
        <p:spPr>
          <a:xfrm>
            <a:off x="2296979" y="629895"/>
            <a:ext cx="8181831" cy="304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533" spc="-34" dirty="0">
                <a:solidFill>
                  <a:srgbClr val="2947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государственную систему образования приходят цифровые технологи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816320D5-E0D9-428E-BE98-C216CDAA0C37}"/>
              </a:ext>
            </a:extLst>
          </p:cNvPr>
          <p:cNvSpPr txBox="1"/>
          <p:nvPr/>
        </p:nvSpPr>
        <p:spPr>
          <a:xfrm>
            <a:off x="1511739" y="1975752"/>
            <a:ext cx="8159826" cy="30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63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андемия показала неготовность системы образования к дистанционному формату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79AE1643-D139-4C5B-B88E-612A242B7A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8909" y="6105206"/>
            <a:ext cx="1109399" cy="752289"/>
          </a:xfrm>
          <a:prstGeom prst="rect">
            <a:avLst/>
          </a:prstGeom>
          <a:ln w="3175">
            <a:noFill/>
          </a:ln>
        </p:spPr>
      </p:pic>
      <p:pic>
        <p:nvPicPr>
          <p:cNvPr id="27" name="Picture 10" descr="Предметы">
            <a:extLst>
              <a:ext uri="{FF2B5EF4-FFF2-40B4-BE49-F238E27FC236}">
                <a16:creationId xmlns:a16="http://schemas.microsoft.com/office/drawing/2014/main" xmlns="" id="{D36357DF-75E7-4BB8-97AF-2751B514F7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41" y="5395345"/>
            <a:ext cx="1406358" cy="781899"/>
          </a:xfrm>
          <a:prstGeom prst="rect">
            <a:avLst/>
          </a:prstGeom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2" descr="Неделя образования - СберКласс">
            <a:extLst>
              <a:ext uri="{FF2B5EF4-FFF2-40B4-BE49-F238E27FC236}">
                <a16:creationId xmlns:a16="http://schemas.microsoft.com/office/drawing/2014/main" xmlns="" id="{5C11527D-42D3-489A-9709-BC906E15CA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42" b="28202"/>
          <a:stretch/>
        </p:blipFill>
        <p:spPr bwMode="auto">
          <a:xfrm>
            <a:off x="6865859" y="4540659"/>
            <a:ext cx="1857901" cy="851960"/>
          </a:xfrm>
          <a:prstGeom prst="rect">
            <a:avLst/>
          </a:prstGeom>
          <a:ln w="190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8" descr="Обучение педагогов в центре «Сириус»">
            <a:extLst>
              <a:ext uri="{FF2B5EF4-FFF2-40B4-BE49-F238E27FC236}">
                <a16:creationId xmlns:a16="http://schemas.microsoft.com/office/drawing/2014/main" xmlns="" id="{B8D5ADBC-2878-4143-B0D5-78D4A135D4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" t="5683" r="-1115" b="12456"/>
          <a:stretch/>
        </p:blipFill>
        <p:spPr bwMode="auto">
          <a:xfrm>
            <a:off x="648345" y="4519397"/>
            <a:ext cx="1637313" cy="894482"/>
          </a:xfrm>
          <a:prstGeom prst="rect">
            <a:avLst/>
          </a:prstGeom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2" descr="Дистанционное обучение · Интерактивная рабочая тетрадь Skysmart">
            <a:extLst>
              <a:ext uri="{FF2B5EF4-FFF2-40B4-BE49-F238E27FC236}">
                <a16:creationId xmlns:a16="http://schemas.microsoft.com/office/drawing/2014/main" xmlns="" id="{900E8823-753E-4947-9086-EEF7BF6349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68" t="-14803" r="-1"/>
          <a:stretch/>
        </p:blipFill>
        <p:spPr bwMode="auto">
          <a:xfrm>
            <a:off x="4869705" y="4731587"/>
            <a:ext cx="1514684" cy="664812"/>
          </a:xfrm>
          <a:prstGeom prst="rect">
            <a:avLst/>
          </a:prstGeom>
          <a:ln w="190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4" descr="Maximum Education">
            <a:extLst>
              <a:ext uri="{FF2B5EF4-FFF2-40B4-BE49-F238E27FC236}">
                <a16:creationId xmlns:a16="http://schemas.microsoft.com/office/drawing/2014/main" xmlns="" id="{055590C0-8A6C-428C-9690-D1F670169B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136" y="6213808"/>
            <a:ext cx="1527347" cy="551315"/>
          </a:xfrm>
          <a:prstGeom prst="rect">
            <a:avLst/>
          </a:prstGeom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2" descr="Дистанционное обучение · Интерактивная рабочая тетрадь Skysmart">
            <a:extLst>
              <a:ext uri="{FF2B5EF4-FFF2-40B4-BE49-F238E27FC236}">
                <a16:creationId xmlns:a16="http://schemas.microsoft.com/office/drawing/2014/main" xmlns="" id="{D9C87741-4258-493C-A791-E6E4B15A04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654" b="-857"/>
          <a:stretch/>
        </p:blipFill>
        <p:spPr bwMode="auto">
          <a:xfrm>
            <a:off x="2767125" y="4874337"/>
            <a:ext cx="1621110" cy="379319"/>
          </a:xfrm>
          <a:prstGeom prst="rect">
            <a:avLst/>
          </a:prstGeom>
          <a:ln w="190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Номер слайда 2">
            <a:extLst>
              <a:ext uri="{FF2B5EF4-FFF2-40B4-BE49-F238E27FC236}">
                <a16:creationId xmlns:a16="http://schemas.microsoft.com/office/drawing/2014/main" xmlns="" id="{4C9B852A-532D-4273-A55D-DDD7A6D1B44C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245768" y="7308459"/>
            <a:ext cx="2336594" cy="311005"/>
          </a:xfrm>
        </p:spPr>
        <p:txBody>
          <a:bodyPr/>
          <a:lstStyle/>
          <a:p>
            <a:fld id="{8AD70286-9A37-49D5-84CC-170BFF34E83D}" type="slidenum">
              <a:rPr lang="ru-RU" smtClean="0"/>
              <a:t>9</a:t>
            </a:fld>
            <a:endParaRPr lang="ru-RU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ED7645B3-7D55-4470-A3E1-70F095AD335A}"/>
              </a:ext>
            </a:extLst>
          </p:cNvPr>
          <p:cNvSpPr txBox="1"/>
          <p:nvPr/>
        </p:nvSpPr>
        <p:spPr>
          <a:xfrm>
            <a:off x="1481812" y="3095060"/>
            <a:ext cx="8082158" cy="5118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6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оявляется большое количество платформ, </a:t>
            </a:r>
            <a:br>
              <a:rPr lang="ru-RU" sz="136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36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 том числе платформы, обеспечивающие работу в режиме онлайн с учителем</a:t>
            </a:r>
            <a:endParaRPr lang="ru-RU" sz="1363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816320D5-E0D9-428E-BE98-C216CDAA0C37}"/>
              </a:ext>
            </a:extLst>
          </p:cNvPr>
          <p:cNvSpPr txBox="1"/>
          <p:nvPr/>
        </p:nvSpPr>
        <p:spPr>
          <a:xfrm>
            <a:off x="582692" y="2736784"/>
            <a:ext cx="9236358" cy="30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63" b="1" dirty="0">
                <a:solidFill>
                  <a:srgbClr val="364D6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настоящий момент реализуется «работа над ошибками»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ED7645B3-7D55-4470-A3E1-70F095AD335A}"/>
              </a:ext>
            </a:extLst>
          </p:cNvPr>
          <p:cNvSpPr txBox="1"/>
          <p:nvPr/>
        </p:nvSpPr>
        <p:spPr>
          <a:xfrm>
            <a:off x="1467000" y="3773680"/>
            <a:ext cx="8082158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63" dirty="0" err="1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Коллаборации</a:t>
            </a:r>
            <a:r>
              <a:rPr lang="ru-RU" sz="136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и партнёрства </a:t>
            </a:r>
            <a:r>
              <a:rPr lang="en-US" sz="136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  <a:sym typeface="Wingdings" panose="05000000000000000000" pitchFamily="2" charset="2"/>
              </a:rPr>
              <a:t></a:t>
            </a:r>
            <a:r>
              <a:rPr lang="ru-RU" sz="1363" dirty="0">
                <a:solidFill>
                  <a:srgbClr val="364D6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контент + техническое решение 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628576" y="5605286"/>
            <a:ext cx="1682325" cy="362017"/>
            <a:chOff x="7724276" y="5803750"/>
            <a:chExt cx="2731167" cy="618413"/>
          </a:xfrm>
        </p:grpSpPr>
        <p:pic>
          <p:nvPicPr>
            <p:cNvPr id="6146" name="Picture 2" descr="https://kit.volgograd.ru/upload/iblock/ebe/26.01.2021.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36589" y="5890921"/>
              <a:ext cx="1918854" cy="518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10"/>
            <a:srcRect r="16318" b="27393"/>
            <a:stretch/>
          </p:blipFill>
          <p:spPr>
            <a:xfrm>
              <a:off x="7724276" y="5803750"/>
              <a:ext cx="712742" cy="618413"/>
            </a:xfrm>
            <a:prstGeom prst="rect">
              <a:avLst/>
            </a:prstGeom>
          </p:spPr>
        </p:pic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05232" y="4749218"/>
            <a:ext cx="1118623" cy="62955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39339" y="5486619"/>
            <a:ext cx="1505258" cy="59934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05640" y="5569346"/>
            <a:ext cx="1588621" cy="433897"/>
          </a:xfrm>
          <a:prstGeom prst="rect">
            <a:avLst/>
          </a:prstGeom>
        </p:spPr>
      </p:pic>
      <p:pic>
        <p:nvPicPr>
          <p:cNvPr id="6150" name="Picture 6" descr="http://xn--80aaehcdett5alvfjj.xn--p1ai/uploads/posts/2020-04/1587370811_logoalgoritmika-na-sayt-1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0783" y="6138580"/>
            <a:ext cx="1365295" cy="701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Соединительная линия уступом 9"/>
          <p:cNvCxnSpPr>
            <a:endCxn id="46" idx="1"/>
          </p:cNvCxnSpPr>
          <p:nvPr/>
        </p:nvCxnSpPr>
        <p:spPr>
          <a:xfrm>
            <a:off x="1054314" y="3034103"/>
            <a:ext cx="427499" cy="31686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Соединительная линия уступом 52"/>
          <p:cNvCxnSpPr>
            <a:endCxn id="38" idx="1"/>
          </p:cNvCxnSpPr>
          <p:nvPr/>
        </p:nvCxnSpPr>
        <p:spPr>
          <a:xfrm rot="16200000" flipH="1">
            <a:off x="810877" y="3268593"/>
            <a:ext cx="899560" cy="412685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6121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ma8WPnBkyl00ZHlESuC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.55YfMYfQuWNXBW_nW5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YofUM6DiL6zrwgwv0d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Re44ZkW.NLW7JAU0Im8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tea6x48RINNJoIliJzD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r.xME4wKEflc.7MMuTV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66sttKaavTA1PyhnI_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WkLfcTAgmFg1beYX2_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.12sNm72GwmLpWzzGwg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VXrnbzF4jhkKdx8McV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TdsX5UdxpG_hc3wewu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nSqaXlARPw6Ou3U7vdX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d9EelSIZbeh.79i_O3T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o2_sQ1jebZ8.4VAuSh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K5oO32KuvFTAwaTD3y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z3bPpydr8mCLbSsP596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QKE3wvtwW9357NiRff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.4KiHAuY9oQrBAn3ExY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17vFNfJS.ihe40jqdAg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tKogHR5FlMHJdXgHeq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doENInKDO53_iDB6_FZ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XV3x8nC_DbXeoQuMxC.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SP0NRSqm0MgmiFTJbXI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i4JlsbsQQdqNK8DS4m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BeXWGxDo0A98LybwSC1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59HGSGHWZdVY6rXn3pk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FXsHRhU3xdkhwvUmEHb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2lU44goypb2tPSjDvrd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Ucf5.IHcynj5RfIY2p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9wCfUGONa4ZACnTK24.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fB1YSPrCymT4tYKXqWl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BpRRnTusZuZOx50S9Qo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m5chMmDa1kWLqMF2ew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S733v23rpSxp5x8Cqq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XHlfC2a8KmyfgMwp0l0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t2nPNg6temlRoxN4Av1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h9EIv4ZfU7ADUwT2U9_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nIIRiqJZxu7N.f9Ye1N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rzvBEUKOWtCLtngZw_1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7a6D2Kjjk4GRFaMUDGq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aVDNpCL41b5OYS0Et6h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bdsE2fTwk.rS9Di44cH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f.xMCtiAUTC0hLSywhw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tYUU2PHqllkW1P8Nh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cPpnhPjTa6Jn8dt3IM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08GK98opWRkCSDDgfCe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xB9.PW2G_dAjNm1wJ1G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pJYKUCYa.5efAeGq1b_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K4pWLfHzYKdO_I9hYUN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OP6D7lVSgLjFXG1X.me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0LRup6eDU4QbLxKMFW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OO0P2pPIU7ljeQCsHiS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HsJzJV6bog50VPAb_Ye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E35vjjuu5r9vZh9IkOG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RsZc8bwYo6ZI5c9CFK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qfLBpcvXrc5qQOYOsGP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Jot_F0M38P0ua6cRl3b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3YC_7sIezt3U.5hqTk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5TRR04ita.5sHDh0ejI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3xrWyoJTNX2fLpu2hzv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yEr1xIvNnp_i9TRg1Py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MmlhdXPRGVhOP9V1Nds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tWi_MPv_NRfv7T6Woua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ynGhP.hRBHGg_Etjih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q4Jb9tsd7ElvwBeLjc2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805mUD6OFA_4.5H0TP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.sAZqQK6vJd8T28tOVS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_59GRetiTaAFexUd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nhv3AKZDPqichTUVpNV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6.jxu4xn6jGpeZzyM9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rNSkw1RUfFNgVrmybH5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QPbT7GE1ygiV6Y3ndYU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YIJOL8zMgkQZWhMdJ1c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mtRTy4ehe0zgUUBfcZF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AD2DN84pTGGae3GqEA4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5G1r7GfhrkA3KCEOpy7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zEd6rh4oj6I5hMzkfE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zlVzw1CAxhIvl.Eu3rD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HH2TjEOM7vmodyD3VK0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Mx4AzcPVt8PeKIYmaB_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dK77IfcDJBmb_UXwzY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pu38_CYIC7QKZVI.VH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4l4AAx8ZQP0g.gN7GYw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koyhWo2OWK3UG8h2OpQ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guAOVSzmcEB1ChxMS_G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CJEfSLCMcK_YGwFYjy6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kBUoNs7hw7scO9.8Ogw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qcw9f1E6qnmeFKyxsb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JAOAgasFVpfy.M6.sxR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uMucboxa47gMtrCaawW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q1FyQm7VZ25HEznx4BW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38OVJDzbh637qBCKvnn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DgphvrC9VxMKkW7I9nd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K8LHBKJG11fljlkCteL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PcCs_O37o9ZQSGA4qg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MbKhUeK3W7x5UN7LoAm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4mLVaOSe6eDNc5jvhZw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O1FDz5Dx1oiYG1O340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7W_VlXk0h5c3yZ2vfPW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r6Mc4KB13C.f7M9haa4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U6aRpegNyjd03mE8Rn8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oKZniXOSxCW1_lpfwbQ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snkr_TgvXXiro9WouKG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.o.Ej4cXa1QhjsOXC5x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fX5d0yWYeKjZyl6Cmri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mBzxa2SssuobEXlSXPL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twVZgb7iW9RSS95dI2W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VzlKio0WpIPSrzCsMk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mcYFYIKbMdjPDb6S7I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f_iMaf4tDTgkORF2SY4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0ysQBppoDbDF4JbqhzX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wOAYIZaiSiR1WvPqLb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4pM_f0t08CG0RqCkCc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sMQC31QDLtW..vJelB1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XeBnhFHG7E3lwCiIUbY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9xPkJNLqqVAZof.3H4F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0ZrROzHm.9pqvbmL4uI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65uB3Nlf9pyEaCpgFAX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B2PEXsWdYigFuriIJ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I3ZeoOc_WA.O1jvMVR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z3og5j1vT8Cu46yLxN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V_B007fRZsmtOf49Shl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EGRXyidgOQerMa.kj6I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KW30fwvVg79.k5JEUuk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JgKyYs5ityY4OikMNZ4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w5uU8HvoTyQ2oFcz3TJ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3BD56XhS5wUcdMX7N2d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7wPaLAITibSY2kB7Gzh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A7pCOTixB2FEixQVEoM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89UyKXzCrTGsYaFP7m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2Lfw1d9xsARqvySrcy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qeQgV9PsqECOrePA7NO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1ArIqEZg8FPBeA4KpGz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yc7hopS78sbHViapKu9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VjTu89Cn8Ss6DZB_LJE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lqgjWTynsb8vVRKjJ5F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47vsBbEJBMd4XVM4gCi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AMY7c8XyeuOpTIV.zdO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lblyDXHyNE8xQJhLpN_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CO0A1CgYUsqTUysdmwp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I6HctxCMhY_i90vXRV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PFja4w699hxDnHUy9f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0UuGQjyM4MxMemu_E58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jZ6cqZ8964px_UMozEx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Lu.zDZo0RVOYhbP7y3o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umhTiqFiqNTxaYwiXep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a422tKXdvh0S.trkfjH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Vd5ioFZ8UkT836mQa_P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snWZmYGGVS9crmMckJ2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sap7Hg2siNjITn6GdKl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gfHu96d2sbPnyyVeIDT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qjTfIonwInFhS.Ksdr2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7MINFJOvuWXQeJbzOK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eXvwvK0KJ90UVm_dZL5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xOWgKbhUiP.IRcr6cOy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iiHjBzIJ8uLenx10X5G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N8vuSTOCsZwoRIpFUMv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uFVTB9_G_3Me30Uu1lk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4PKZ7K1qUb1t5713pOg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JVDKbbZqq1ukSRrJ2i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nmHjG65kxaTX.83XuY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g_T_efVwEdZK6v1tUu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N.LuhIgRYZx8i2U.WGU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gYKi1FrrumG1SI9w.w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S8Q864fXhzc91gVLegj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RQO.CuL9vsOA9NiTXKj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Uap4V8CZXJtchRjrtPL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2Q7K0V2wgoYtrAZ.jfQ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gvGO3Hr8NIg4fc85O6z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JASg96b1xA_YNBpJuPV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UGQWzX_.ym06GKAgn2n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g5Ss.oGDDvWL9u75_G_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MvVbAuHWqFRp2sjEJx6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8NmKfhBi1.y3mWLjHDz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lGpDOBHEhUko1AqeSI9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E9JJmOf6EmtbpqlXWM7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X6heNUSFoA54TVGQCt.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u1ZXw.oSN79b7jNKCSG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8ETgFzoPu83wuBXp9c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pPeC.LkrrXTBV273auc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Jf3ZEDbLHysl4Fh.zYj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4WR0NUXSicn.FR2Jti5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L7X45jaCxAMN8NqM6y4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YM600txWjHGbVJqh_x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SMAbRSRAfcoNkEiwk7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GCTdjWKljaFOwO.sYB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cuXp8qRGXM193dIApCd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t6coCjokzv4CxFLFFt6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ANF.Hrv98IHvZOBMg8P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3l.5Kpmqxi8rR9usTq1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5sc6ZD2eZhF7v6J.7_q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Ankw1iIK6j1fQZwO00_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ZAqan0ZvysNRdAsUokE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_y9tNaXU52xirzd94as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nkzj2DPsFHs9zgVmWlo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12DGFCTLfrR3o_FmUEb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QFhhJxmfFCQ9uOFjW1.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U0m8gAUDj.VUrXyOnY5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8lcYCLjDcmGY8F8ery2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zRsGXmKpaSxC.g14Peu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ULhqhIoFKeXguy29Q.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xdi2DyLsgLgGoyQL.lZ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B_cLMEmZqAMqaqOzU2V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Z_Zaefl5NAofScchuzp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LFyFKHANLOwKWmMc4oX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pquzM4bpkn9qCsxfsym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2Gpsox7ktbwIofM5P6N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paHGQuURlZbZsRyIzu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x8dH7ESTPoPjOIqds5a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rT_smpB9rWMbjLet5wM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z6c1639iTOSOOOooQXN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ShZOyu9mNSx8vmmR5vo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WpReebqrpIswey.QNWl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MbdpFOS7B84e2GbS96.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sxAdFexvovFUzitFOCM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Ultnl1CNMPU4yh0ApLF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mObEyswN_M7EYP8Bn6B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YIjKIKa7OesTj.4NFQh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AzJj8JaOVEYDeHpfdk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4LqsMutuDCy3mc3Higi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8vt5HPrwZkHIuWcAkPm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nI2EVJ24THoxwKIobTS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i4BEmO6OIPIt0DHOp_C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4mLVaOSe6eDNc5jvhZw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aE911BYgYN7f2T9.3XR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R2KUQJd5eyiP2NTPT8T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ux42KMHPl3fr7MMOqJx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FQRZQVXo0IZRl5XjB2p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MfuCgv4BYHRcSCVE1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T774e7gOFNK5VlVnDJJ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byi9a6XTu9i0I00Z8Hu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Ka8Y9zrPn2LqvfwjoHB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hynZ32iiG5..Ken_2uK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OHjBB7bL16jfqBiQgJ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TircQg1vfuT05aYacRW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jG5u6CLOcxENuEFCvjf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C1WtqV3UlGpEWrz5mv3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DCGWUvHtYZztBv1Bp0P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WR5c50gnQhnevBiSQqv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kHN1Oan_eUKH.DsSjJ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CZs8MIn9cV7Tsy3OCSq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nUROZx5aIBvUHMKwx2V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n6KanJbsY_PH4hokyWd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nbUDfsOFLhTsUc2C8yL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6CL1rgjgGR5XlO7B6nC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wPgxVjquapzgYOsxCa.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IQkb5.UnTcS.xCqaNOe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eooIcFAuFGHA6m9OJ9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RW5vdwpSLCGpjmVVhov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5wrS8XJ2sePgRPh58pP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F1fsSKXxyM6ogJRlSH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A1uAPLrwmjAK5MEdj3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QgfKUSRc3BWBrsGhuFu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3pYANpCZUTsVi06c8Q3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ru0wbUbsigozXJt_hxO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sVGfzMA6myjGF7nJiAi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CCVQWq5GlOI5ff17B_w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KfuC02tPiMlyD_IlVk8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ywwaZILs7cE5HwBgHh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q4gQB8_9G.moEQpX0U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_A5VxCx2e4Dj6rHDBwE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4fJHLTa9PkPk6i4pn7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yCff0yvmHFbFMsfhhzB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L3g.yOSTq87T_3yZLpl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syTWYKbDgLlRnBCZ_IZ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m3ApmtURzRzfjXUcazW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OEZkZfPdtQE08808vpj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5VoZ3vfum4djEhgVOuj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riYpRH8cNgvw4WG00fw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yL5XlJX77pLpgI27Qou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mHzgqndUTjn01KcCAA0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DocBRf8KubSq5_cGxyP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DmBFX1fEb4v8a.yKXI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hzgeJRqJl3KuCeLTzeP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7.bn.IDQ3uA6Aveh53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o3214sKqHqNurzbY2YG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MKACRREaIWvUJcFqSGh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PgTIFBn7yhjECjbg7oj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AMAfSaHnmufWXMUA7D5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JGUpDUibm01nKefQVSW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pGiPXWsHj240uavmbjF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oRBunP6k4Ruiu4vYcL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JGCRQQ38Ma6JR3BmbfE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7z4AB1sJCQi9f6Vhl79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mC_f2VIp6pqDogBw_Wb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CY.3DvJJVCMuBiSeKb8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SxLSl6Kxksv7d7C06f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QZzSCuiFw5kruVL_5.8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4ClBUblCAjiYJFaRKtP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f7D2lAiIpRUcBl_o89l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MnIU.8CgDueYoIpHTmD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ut477TioZ9slSCIQWe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a7ZY0SKFiwID5cbZ76M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IkKKKotLWl9Qd7_av1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G72opDQEDs8F9CQcLZ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NnMMPQbhQnTy1Jnyoa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W798C6Hyb3XcRFWVJEK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LrhkVZxBe27soYC52kb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J.u0Y.lEP2dBa7onE4f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Tan5BXerB44ai6uRWqu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Y.p7wW4GMoZK1UmMOcT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mQL70demCepKFd8yEj2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QSPaVX0X8p7ToTm0_sn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TDQqe2opsUvqJCIGllc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nwcIv3o_XwxIANDvAFM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PNfl4LavVpxZe.9lCM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lx.vCE14HGZjxDWcr9i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ByJmQx119Kfn5QKhYvS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MR12ujXL0YPEMQ6AHC3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Ixs_XfO8ryoAo5uMHeq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f5.8xk.MmShFKZRFKXS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RY63xTzWyHOPPh3D20l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deFd56qUtmufNnOdKJ4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dHkMx2lZplx3YcqeEn2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IdT81c6I.d.7IAGXCml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ABh7k5VdHbvdwqq2rP3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THeQf41vq7TUrDu4py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G_Z75OUZ2pNDd1GcmgK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.zOn3eXmEWI6YXvlLNz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UwDij3VQxklum2QcNyw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zIGJgUvNdUYpOWsV9ch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zLjsBNz7bs28qIo9PpL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GLJP9c4FgYA6JdwoVIK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EVw6zN14Gu6cqChQPtr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n.cjzXJlUrus44vaceA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Uj_0ozoSDOWY0KDNsDC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27PHXAoVCSDSvo7gpT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CHuE5mhJ_h_1dwCx5t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4mLVaOSe6eDNc5jvhZ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mQfgV5DxAnx67Yn2Krh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9B9G937rHZ8rvxqbtE6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EpX1emxTsjii6xs7Fcm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tVVlOaRJsNWjFWmUm5l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OjLtVNvMzFCbVaAEnTg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xmyjYH9X452ciKgvN0z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FTDhL3jb_DnkjTyXfCt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K8W1xSK1Q7OgUuNUK6d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Lh0VdXOol3uqaqiOf2X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piw.d_0x2T3tKXdEPt3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hoRf9NujJOLNxdFxu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vdLAPT3ufjfj.C7SKy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tNf0ThXfptj.onOou.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iY2IfzH5SmFlzjIi8XT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wdF30vjZKj6p8kykQb.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p1qN1CkgFf6gfJTtq.Q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Tq6iF1eKdVLNTgYi.9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HawRv3FkkyVdX_tEUbs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UvHBwMNZhxCiriifixJ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0EPVZSTIMTEQE1rJFAL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_H9irT01TkvVG3vHcz.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.w4TNtDwYYYHczWmUnl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MDxPmK07lLBRjzQ9tgn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g3Voh8qBhgyaycdGgQ1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8uu7NiFaLnGxpy53YJp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m40Kq5hIgIBG4dfzQKL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wqSpi.gvHq5t_PXu.H1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bkrLhwxGpnP5CHDTH9b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nObKnAcvVButUzTbEQH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2av2mKT72m_Es3TcFSW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s5VLF17CweJCtBwTvLQ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SQlkluIekMWcfmwnFja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r1OR6JeMSt_4n4LBcR5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tVFMm4ayeesVO.Sdq45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TtNdt_WBiGWY5ffxf2.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J.Kdn4Cym5l2.E.dZRg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XEsUL6_3VRbd4hIFneD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d3w4sD6_p6BW3.hkef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gM_23Rkea50qTok5n3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IzBI1aEtEWiH5UmAaQr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XseOhhKjm12O4lgEuJ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GylnTpwI.m19my3NZC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zRFFo2uceCUjmXPRn9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RfOq76_1YVWUiBZdK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JxI.IzvohGV9vSRQp54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Pe6s4E12ll1dII73.yg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IhKXZQ2zwjmHCTdGE0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vXFUwWDkuJ88C7H0rJ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hs1qRHK5Aqux1S5BQA9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AbRYqN4TrpnJIn4Li8P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R5Zqd72mr3GkDt_Kmc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iEUm1ZFpT4BLKQx3Yam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7ZLW_AS04to5F0.zoo9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fYvsDH.SVRNwqBBvB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h1L4EP1xDH3IxbT8To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gkmKYLXLcS4DbrWkrY6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6Azl50UO8JgI_3l.xJ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.bJHmQTAneWr.UKy2O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p2T7ThslWXBv93Fk.Mr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4ozJ5m4Kl7pf_LBiu3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ACwnDM.N.EGM8CSkS24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k36PQN9uCH2wJ7GPZe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DKiRE2nXBah87xege3A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rWD4cr1QhTj3ksg3pL8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ghFlVd3flhdCDWLvP2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tUL4LLV2WJocN_3.jx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0KwL4I4Kjq1r3TOwfXl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gr1wCSIMBQGt4Eu99Z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rzGqj6UxKW.9_KrAO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pkBwuPJpG_taoj3dnWL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XJCz14VRpsE6tj6.AV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K8y0sle3OGdJy4SCi8X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.NDvo_oLQIJE83XsVYT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RWCm4m3TzQU2_e6x3J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OD1tv8zqjRuIZ0eoAEB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DSMo8lFYgmdvDXkqjt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q.UUyYKmEUG3Vur71bF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HmeAE5K9T9Rg37RIds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xQfpUwygdyhvM4mppy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cih.9xhEttNxW0GXA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mjUUIgS6Z6vMhRDQteB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D.Q1XHn11a3LTWrROa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wisA5VjCz3tnogk6jOM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kMIdexXfn6f_HHd1Q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9kuwKv0BCC2oSG3nhkV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gQ_K977vxNPBhLYRMy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0utcZ4OSEZOO411Y5N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L4hmjlAT1tA.0h4TQxY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2rJZiz3nkVuE.me77uk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5icsiyfKmmem8TVpflr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lGdSolD21EtjDGXBUz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m0v4aruYi5m_fCjvTl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q3J1HrrqeNS.veMjhv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Jc7QF5z8XsEGAI62ewq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bR16rcWoBFPcDKOYL8C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FmQoqALKEClOAB2U2H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MH18Y09JlK1csPnbDOG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xQsYtO7P7JtLN3x4tHBw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135</TotalTime>
  <Words>1132</Words>
  <Application>Microsoft Office PowerPoint</Application>
  <PresentationFormat>Произвольный</PresentationFormat>
  <Paragraphs>355</Paragraphs>
  <Slides>10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Open Sans</vt:lpstr>
      <vt:lpstr>Arial</vt:lpstr>
      <vt:lpstr>Calibri Light</vt:lpstr>
      <vt:lpstr>Wingdings</vt:lpstr>
      <vt:lpstr>Open Sans Light</vt:lpstr>
      <vt:lpstr>Calibri</vt:lpstr>
      <vt:lpstr>Тема Office</vt:lpstr>
      <vt:lpstr>Слайд think-cell</vt:lpstr>
      <vt:lpstr>Книжный рынок 2020-2023 гг.</vt:lpstr>
      <vt:lpstr>Презентация PowerPoint</vt:lpstr>
      <vt:lpstr>Презентация PowerPoint</vt:lpstr>
      <vt:lpstr>Презентация PowerPoint</vt:lpstr>
      <vt:lpstr>Учитель – профессия будущего!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keting</dc:creator>
  <cp:lastModifiedBy>Костяная Ольга Борисовна</cp:lastModifiedBy>
  <cp:revision>1025</cp:revision>
  <cp:lastPrinted>2019-12-04T15:03:27Z</cp:lastPrinted>
  <dcterms:created xsi:type="dcterms:W3CDTF">2018-08-31T12:23:43Z</dcterms:created>
  <dcterms:modified xsi:type="dcterms:W3CDTF">2021-09-24T10:18:39Z</dcterms:modified>
</cp:coreProperties>
</file>